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theme/theme3.xml" ContentType="application/vnd.openxmlformats-officedocument.theme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theme/theme5.xml" ContentType="application/vnd.openxmlformats-officedocument.theme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theme/theme6.xml" ContentType="application/vnd.openxmlformats-officedocument.theme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theme/theme7.xml" ContentType="application/vnd.openxmlformats-officedocument.theme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4997" r:id="rId2"/>
    <p:sldMasterId id="2147484583" r:id="rId3"/>
    <p:sldMasterId id="2147486685" r:id="rId4"/>
    <p:sldMasterId id="2147491428" r:id="rId5"/>
    <p:sldMasterId id="2147485006" r:id="rId6"/>
    <p:sldMasterId id="2147492056" r:id="rId7"/>
    <p:sldMasterId id="2147492068" r:id="rId8"/>
  </p:sldMasterIdLst>
  <p:notesMasterIdLst>
    <p:notesMasterId r:id="rId43"/>
  </p:notesMasterIdLst>
  <p:sldIdLst>
    <p:sldId id="283" r:id="rId9"/>
    <p:sldId id="290" r:id="rId10"/>
    <p:sldId id="320" r:id="rId11"/>
    <p:sldId id="318" r:id="rId12"/>
    <p:sldId id="287" r:id="rId13"/>
    <p:sldId id="292" r:id="rId14"/>
    <p:sldId id="262" r:id="rId15"/>
    <p:sldId id="297" r:id="rId16"/>
    <p:sldId id="304" r:id="rId17"/>
    <p:sldId id="305" r:id="rId18"/>
    <p:sldId id="319" r:id="rId19"/>
    <p:sldId id="299" r:id="rId20"/>
    <p:sldId id="288" r:id="rId21"/>
    <p:sldId id="306" r:id="rId22"/>
    <p:sldId id="309" r:id="rId23"/>
    <p:sldId id="310" r:id="rId24"/>
    <p:sldId id="311" r:id="rId25"/>
    <p:sldId id="312" r:id="rId26"/>
    <p:sldId id="313" r:id="rId27"/>
    <p:sldId id="314" r:id="rId28"/>
    <p:sldId id="308" r:id="rId29"/>
    <p:sldId id="307" r:id="rId30"/>
    <p:sldId id="256" r:id="rId31"/>
    <p:sldId id="315" r:id="rId32"/>
    <p:sldId id="316" r:id="rId33"/>
    <p:sldId id="294" r:id="rId34"/>
    <p:sldId id="285" r:id="rId35"/>
    <p:sldId id="273" r:id="rId36"/>
    <p:sldId id="298" r:id="rId37"/>
    <p:sldId id="317" r:id="rId38"/>
    <p:sldId id="257" r:id="rId39"/>
    <p:sldId id="300" r:id="rId40"/>
    <p:sldId id="321" r:id="rId41"/>
    <p:sldId id="284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C51FFC5-8415-2629-BD7C-2D6E013F141E}" name="Akujieze, Tochukwu" initials="AT" userId="S::tochukwu.akujieze_endeavorhealth.org#ext#@nuwildcat.onmicrosoft.com::27165aaa-b6d6-4f71-93a8-8659dc914c2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586"/>
    <p:restoredTop sz="94670"/>
  </p:normalViewPr>
  <p:slideViewPr>
    <p:cSldViewPr snapToGrid="0">
      <p:cViewPr varScale="1">
        <p:scale>
          <a:sx n="72" d="100"/>
          <a:sy n="72" d="100"/>
        </p:scale>
        <p:origin x="82" y="4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microsoft.com/office/2018/10/relationships/authors" Target="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notesMaster" Target="notesMasters/notesMaster1.xml"/><Relationship Id="rId48" Type="http://schemas.microsoft.com/office/2016/11/relationships/changesInfo" Target="changesInfos/changesInfo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becca Hannah Ainis" userId="116137a0-2af5-436b-85e1-74d9d3b30f2f" providerId="ADAL" clId="{6E039243-4417-4220-A582-B1623E3F270F}"/>
    <pc:docChg chg="custSel modSld">
      <pc:chgData name="Rebecca Hannah Ainis" userId="116137a0-2af5-436b-85e1-74d9d3b30f2f" providerId="ADAL" clId="{6E039243-4417-4220-A582-B1623E3F270F}" dt="2026-06-01T18:55:53.705" v="1" actId="478"/>
      <pc:docMkLst>
        <pc:docMk/>
      </pc:docMkLst>
      <pc:sldChg chg="delSp mod">
        <pc:chgData name="Rebecca Hannah Ainis" userId="116137a0-2af5-436b-85e1-74d9d3b30f2f" providerId="ADAL" clId="{6E039243-4417-4220-A582-B1623E3F270F}" dt="2026-06-01T18:55:53.705" v="1" actId="478"/>
        <pc:sldMkLst>
          <pc:docMk/>
          <pc:sldMk cId="3409702742" sldId="321"/>
        </pc:sldMkLst>
        <pc:spChg chg="del">
          <ac:chgData name="Rebecca Hannah Ainis" userId="116137a0-2af5-436b-85e1-74d9d3b30f2f" providerId="ADAL" clId="{6E039243-4417-4220-A582-B1623E3F270F}" dt="2026-06-01T18:55:53.705" v="1" actId="478"/>
          <ac:spMkLst>
            <pc:docMk/>
            <pc:sldMk cId="3409702742" sldId="321"/>
            <ac:spMk id="2" creationId="{9749A74C-E490-D643-A398-567613BA9232}"/>
          </ac:spMkLst>
        </pc:spChg>
        <pc:spChg chg="del">
          <ac:chgData name="Rebecca Hannah Ainis" userId="116137a0-2af5-436b-85e1-74d9d3b30f2f" providerId="ADAL" clId="{6E039243-4417-4220-A582-B1623E3F270F}" dt="2026-06-01T18:55:48.957" v="0" actId="478"/>
          <ac:spMkLst>
            <pc:docMk/>
            <pc:sldMk cId="3409702742" sldId="321"/>
            <ac:spMk id="10" creationId="{4682CF19-9DF0-9E8A-4D1D-24F6B4A9EF5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F173ACB-168E-4B72-A22D-783D2A056A2A}" type="doc">
      <dgm:prSet loTypeId="urn:microsoft.com/office/officeart/2005/8/layout/process3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FD31C6F-0A8E-4A62-A22E-37C5D606D2AD}">
      <dgm:prSet phldrT="[Text]" custT="1"/>
      <dgm:spPr/>
      <dgm:t>
        <a:bodyPr/>
        <a:lstStyle/>
        <a:p>
          <a:pPr rtl="0"/>
          <a:r>
            <a:rPr lang="en-US" sz="2600" dirty="0">
              <a:solidFill>
                <a:schemeClr val="tx1"/>
              </a:solidFill>
              <a:latin typeface="DM Sans" pitchFamily="2" charset="77"/>
            </a:rPr>
            <a:t>Winter 2026</a:t>
          </a:r>
        </a:p>
      </dgm:t>
    </dgm:pt>
    <dgm:pt modelId="{FB205182-E984-485A-9DDB-CD4F7EB32BC7}" type="parTrans" cxnId="{C4D87D9F-2674-4E02-8584-B962CB821403}">
      <dgm:prSet/>
      <dgm:spPr/>
      <dgm:t>
        <a:bodyPr/>
        <a:lstStyle/>
        <a:p>
          <a:endParaRPr lang="en-US"/>
        </a:p>
      </dgm:t>
    </dgm:pt>
    <dgm:pt modelId="{3D593732-3792-4417-9B4C-5E17E6485FD9}" type="sibTrans" cxnId="{C4D87D9F-2674-4E02-8584-B962CB821403}">
      <dgm:prSet/>
      <dgm:spPr/>
      <dgm:t>
        <a:bodyPr/>
        <a:lstStyle/>
        <a:p>
          <a:endParaRPr lang="en-US"/>
        </a:p>
      </dgm:t>
    </dgm:pt>
    <dgm:pt modelId="{AEB0C01B-3288-48FD-A6B3-C0E754FC7205}">
      <dgm:prSet phldrT="[Text]"/>
      <dgm:spPr/>
      <dgm:t>
        <a:bodyPr/>
        <a:lstStyle/>
        <a:p>
          <a:pPr rtl="0"/>
          <a:r>
            <a:rPr lang="en-US" dirty="0">
              <a:latin typeface="DM Sans" pitchFamily="2" charset="77"/>
            </a:rPr>
            <a:t>Neonatal CAB </a:t>
          </a:r>
        </a:p>
      </dgm:t>
    </dgm:pt>
    <dgm:pt modelId="{A17FD9A8-791C-4C54-B30A-42DF4391415C}" type="parTrans" cxnId="{40A1F62D-76F2-4B01-8EBB-317B27390711}">
      <dgm:prSet/>
      <dgm:spPr/>
      <dgm:t>
        <a:bodyPr/>
        <a:lstStyle/>
        <a:p>
          <a:endParaRPr lang="en-US"/>
        </a:p>
      </dgm:t>
    </dgm:pt>
    <dgm:pt modelId="{B97407DB-38A8-48BB-B519-E33FA874FA11}" type="sibTrans" cxnId="{40A1F62D-76F2-4B01-8EBB-317B27390711}">
      <dgm:prSet/>
      <dgm:spPr/>
      <dgm:t>
        <a:bodyPr/>
        <a:lstStyle/>
        <a:p>
          <a:endParaRPr lang="en-US"/>
        </a:p>
      </dgm:t>
    </dgm:pt>
    <dgm:pt modelId="{8FC79BDB-7616-4857-8EC7-29664F8CDE93}">
      <dgm:prSet phldrT="[Text]" custT="1"/>
      <dgm:spPr/>
      <dgm:t>
        <a:bodyPr/>
        <a:lstStyle/>
        <a:p>
          <a:pPr rtl="0"/>
          <a:r>
            <a:rPr lang="en-US" sz="2600" dirty="0">
              <a:solidFill>
                <a:schemeClr val="bg1"/>
              </a:solidFill>
              <a:latin typeface="DM Sans" pitchFamily="2" charset="77"/>
            </a:rPr>
            <a:t>Spring 2026</a:t>
          </a:r>
        </a:p>
      </dgm:t>
    </dgm:pt>
    <dgm:pt modelId="{731BCC3B-4687-4856-AF11-BD278147CA26}" type="parTrans" cxnId="{690144A2-26CE-4DB3-96A2-0FE5CA36B2F8}">
      <dgm:prSet/>
      <dgm:spPr/>
      <dgm:t>
        <a:bodyPr/>
        <a:lstStyle/>
        <a:p>
          <a:endParaRPr lang="en-US"/>
        </a:p>
      </dgm:t>
    </dgm:pt>
    <dgm:pt modelId="{65774911-0C00-4988-8E8C-B40D321BB75B}" type="sibTrans" cxnId="{690144A2-26CE-4DB3-96A2-0FE5CA36B2F8}">
      <dgm:prSet/>
      <dgm:spPr/>
      <dgm:t>
        <a:bodyPr/>
        <a:lstStyle/>
        <a:p>
          <a:endParaRPr lang="en-US"/>
        </a:p>
      </dgm:t>
    </dgm:pt>
    <dgm:pt modelId="{B393DA64-916A-4594-9CF3-65280C3A79D7}">
      <dgm:prSet phldrT="[Text]" custT="1"/>
      <dgm:spPr/>
      <dgm:t>
        <a:bodyPr/>
        <a:lstStyle/>
        <a:p>
          <a:pPr rtl="0"/>
          <a:r>
            <a:rPr lang="en-US" sz="1400" dirty="0">
              <a:latin typeface="DM Sans" pitchFamily="2" charset="77"/>
            </a:rPr>
            <a:t>Building driver diagram </a:t>
          </a:r>
        </a:p>
      </dgm:t>
    </dgm:pt>
    <dgm:pt modelId="{190EE968-8A48-464D-AE35-1D735F0E715B}" type="parTrans" cxnId="{992B0198-9CBE-44D0-A4D0-AB577C6CCD3E}">
      <dgm:prSet/>
      <dgm:spPr/>
      <dgm:t>
        <a:bodyPr/>
        <a:lstStyle/>
        <a:p>
          <a:endParaRPr lang="en-US"/>
        </a:p>
      </dgm:t>
    </dgm:pt>
    <dgm:pt modelId="{B77C3A88-869A-4AEE-B0A3-8686ECD9A7D8}" type="sibTrans" cxnId="{992B0198-9CBE-44D0-A4D0-AB577C6CCD3E}">
      <dgm:prSet/>
      <dgm:spPr/>
      <dgm:t>
        <a:bodyPr/>
        <a:lstStyle/>
        <a:p>
          <a:endParaRPr lang="en-US"/>
        </a:p>
      </dgm:t>
    </dgm:pt>
    <dgm:pt modelId="{18DE029D-4010-460D-9C98-AC0D755CBAD6}">
      <dgm:prSet phldr="0"/>
      <dgm:spPr/>
      <dgm:t>
        <a:bodyPr/>
        <a:lstStyle/>
        <a:p>
          <a:pPr rtl="0"/>
          <a:r>
            <a:rPr lang="en-US">
              <a:latin typeface="DM Sans" pitchFamily="2" charset="77"/>
            </a:rPr>
            <a:t>Collaboration and consulting with:</a:t>
          </a:r>
        </a:p>
      </dgm:t>
    </dgm:pt>
    <dgm:pt modelId="{15BC89A2-6FFD-4FE6-AD7B-B363C195D43E}" type="parTrans" cxnId="{53414347-F844-49C2-B24C-DCA27890B410}">
      <dgm:prSet/>
      <dgm:spPr/>
      <dgm:t>
        <a:bodyPr/>
        <a:lstStyle/>
        <a:p>
          <a:endParaRPr lang="en-US"/>
        </a:p>
      </dgm:t>
    </dgm:pt>
    <dgm:pt modelId="{6DF3B9E5-1FF6-4D0A-BE73-68B1624860B6}" type="sibTrans" cxnId="{53414347-F844-49C2-B24C-DCA27890B410}">
      <dgm:prSet/>
      <dgm:spPr/>
      <dgm:t>
        <a:bodyPr/>
        <a:lstStyle/>
        <a:p>
          <a:endParaRPr lang="en-US"/>
        </a:p>
      </dgm:t>
    </dgm:pt>
    <dgm:pt modelId="{61E85977-52B2-4331-B655-E3E66A0E1737}">
      <dgm:prSet phldr="0"/>
      <dgm:spPr/>
      <dgm:t>
        <a:bodyPr/>
        <a:lstStyle/>
        <a:p>
          <a:pPr rtl="0"/>
          <a:r>
            <a:rPr lang="en-US" dirty="0">
              <a:latin typeface="DM Sans" pitchFamily="2" charset="77"/>
            </a:rPr>
            <a:t>Neonatal Advisory</a:t>
          </a:r>
        </a:p>
      </dgm:t>
    </dgm:pt>
    <dgm:pt modelId="{2DB3D76A-130A-424B-B025-7DC33B94C7FD}" type="parTrans" cxnId="{4A34D613-07C7-489C-9F77-C55649165789}">
      <dgm:prSet/>
      <dgm:spPr/>
      <dgm:t>
        <a:bodyPr/>
        <a:lstStyle/>
        <a:p>
          <a:endParaRPr lang="en-US"/>
        </a:p>
      </dgm:t>
    </dgm:pt>
    <dgm:pt modelId="{5EB106F6-679B-47D7-B00D-F1CDE67C5EAC}" type="sibTrans" cxnId="{4A34D613-07C7-489C-9F77-C55649165789}">
      <dgm:prSet/>
      <dgm:spPr/>
      <dgm:t>
        <a:bodyPr/>
        <a:lstStyle/>
        <a:p>
          <a:endParaRPr lang="en-US"/>
        </a:p>
      </dgm:t>
    </dgm:pt>
    <dgm:pt modelId="{DC1B7250-5E11-3149-BA6F-DF1E774E2C7C}">
      <dgm:prSet phldrT="[Text]"/>
      <dgm:spPr/>
      <dgm:t>
        <a:bodyPr/>
        <a:lstStyle/>
        <a:p>
          <a:pPr rtl="0"/>
          <a:r>
            <a:rPr lang="en-US" dirty="0">
              <a:latin typeface="DM Sans" pitchFamily="2" charset="77"/>
            </a:rPr>
            <a:t>Illinois Data Systems and Stakeholders</a:t>
          </a:r>
        </a:p>
      </dgm:t>
    </dgm:pt>
    <dgm:pt modelId="{FA5A7DEF-27B7-5247-8945-CE68BCE08031}" type="parTrans" cxnId="{F64C353D-EF45-8543-89AE-1D720F6D6C83}">
      <dgm:prSet/>
      <dgm:spPr/>
      <dgm:t>
        <a:bodyPr/>
        <a:lstStyle/>
        <a:p>
          <a:endParaRPr lang="en-US"/>
        </a:p>
      </dgm:t>
    </dgm:pt>
    <dgm:pt modelId="{90CF286D-541B-F04D-8873-B21D0A3AF19B}" type="sibTrans" cxnId="{F64C353D-EF45-8543-89AE-1D720F6D6C83}">
      <dgm:prSet/>
      <dgm:spPr/>
      <dgm:t>
        <a:bodyPr/>
        <a:lstStyle/>
        <a:p>
          <a:endParaRPr lang="en-US"/>
        </a:p>
      </dgm:t>
    </dgm:pt>
    <dgm:pt modelId="{7D85D818-DB68-C747-A367-28B9760756D3}">
      <dgm:prSet phldrT="[Text]"/>
      <dgm:spPr/>
      <dgm:t>
        <a:bodyPr/>
        <a:lstStyle/>
        <a:p>
          <a:pPr rtl="0"/>
          <a:r>
            <a:rPr lang="en-US" dirty="0">
              <a:latin typeface="DM Sans" pitchFamily="2" charset="77"/>
            </a:rPr>
            <a:t>Creation of Care of Late Preterm Planning Group </a:t>
          </a:r>
        </a:p>
      </dgm:t>
    </dgm:pt>
    <dgm:pt modelId="{EC5D4B97-6628-934E-849F-512615BCA4F3}" type="parTrans" cxnId="{DDFA8468-EFBE-C647-AE63-26B00F24DB0C}">
      <dgm:prSet/>
      <dgm:spPr/>
      <dgm:t>
        <a:bodyPr/>
        <a:lstStyle/>
        <a:p>
          <a:endParaRPr lang="en-US"/>
        </a:p>
      </dgm:t>
    </dgm:pt>
    <dgm:pt modelId="{F214249C-A691-7B46-9232-B68D86FFD62A}" type="sibTrans" cxnId="{DDFA8468-EFBE-C647-AE63-26B00F24DB0C}">
      <dgm:prSet/>
      <dgm:spPr/>
      <dgm:t>
        <a:bodyPr/>
        <a:lstStyle/>
        <a:p>
          <a:endParaRPr lang="en-US"/>
        </a:p>
      </dgm:t>
    </dgm:pt>
    <dgm:pt modelId="{9E31A234-341F-234B-88CD-FE718CFE8DEB}">
      <dgm:prSet phldrT="[Text]" custT="1"/>
      <dgm:spPr/>
      <dgm:t>
        <a:bodyPr/>
        <a:lstStyle/>
        <a:p>
          <a:pPr rtl="0"/>
          <a:r>
            <a:rPr lang="en-US" sz="1400" dirty="0">
              <a:latin typeface="DM Sans" pitchFamily="2" charset="77"/>
            </a:rPr>
            <a:t>Toolkit development</a:t>
          </a:r>
        </a:p>
      </dgm:t>
    </dgm:pt>
    <dgm:pt modelId="{BB9B3EBF-E4C1-1E47-936C-17ED70E6C1ED}" type="parTrans" cxnId="{5882EDD2-A08B-3A4B-BDC4-ADA8375A60E4}">
      <dgm:prSet/>
      <dgm:spPr/>
      <dgm:t>
        <a:bodyPr/>
        <a:lstStyle/>
        <a:p>
          <a:endParaRPr lang="en-US"/>
        </a:p>
      </dgm:t>
    </dgm:pt>
    <dgm:pt modelId="{B1C62D1D-996F-FC44-A692-2AE4BA625873}" type="sibTrans" cxnId="{5882EDD2-A08B-3A4B-BDC4-ADA8375A60E4}">
      <dgm:prSet/>
      <dgm:spPr/>
      <dgm:t>
        <a:bodyPr/>
        <a:lstStyle/>
        <a:p>
          <a:endParaRPr lang="en-US"/>
        </a:p>
      </dgm:t>
    </dgm:pt>
    <dgm:pt modelId="{C26BCA9B-0ACB-AC4C-AAAF-E0872F5ACD6E}">
      <dgm:prSet phldrT="[Text]" custT="1"/>
      <dgm:spPr/>
      <dgm:t>
        <a:bodyPr/>
        <a:lstStyle/>
        <a:p>
          <a:r>
            <a:rPr lang="en-US" sz="1400" dirty="0">
              <a:latin typeface="DM Sans" pitchFamily="2" charset="77"/>
            </a:rPr>
            <a:t>Key aim development</a:t>
          </a:r>
        </a:p>
      </dgm:t>
    </dgm:pt>
    <dgm:pt modelId="{352B8986-5887-234B-B57A-62420B0CE76F}" type="parTrans" cxnId="{F638CDFC-8D21-6F4B-BA44-4CFD3D20D523}">
      <dgm:prSet/>
      <dgm:spPr/>
      <dgm:t>
        <a:bodyPr/>
        <a:lstStyle/>
        <a:p>
          <a:endParaRPr lang="en-US"/>
        </a:p>
      </dgm:t>
    </dgm:pt>
    <dgm:pt modelId="{AA83173C-28BB-E846-930F-47FBAD5002EF}" type="sibTrans" cxnId="{F638CDFC-8D21-6F4B-BA44-4CFD3D20D523}">
      <dgm:prSet/>
      <dgm:spPr/>
      <dgm:t>
        <a:bodyPr/>
        <a:lstStyle/>
        <a:p>
          <a:endParaRPr lang="en-US"/>
        </a:p>
      </dgm:t>
    </dgm:pt>
    <dgm:pt modelId="{718BF8E5-3A02-41A9-8181-5E410247A40C}" type="pres">
      <dgm:prSet presAssocID="{5F173ACB-168E-4B72-A22D-783D2A056A2A}" presName="linearFlow" presStyleCnt="0">
        <dgm:presLayoutVars>
          <dgm:dir/>
          <dgm:animLvl val="lvl"/>
          <dgm:resizeHandles val="exact"/>
        </dgm:presLayoutVars>
      </dgm:prSet>
      <dgm:spPr/>
    </dgm:pt>
    <dgm:pt modelId="{D19542B4-321A-4575-95C8-405528B909D9}" type="pres">
      <dgm:prSet presAssocID="{8FD31C6F-0A8E-4A62-A22E-37C5D606D2AD}" presName="composite" presStyleCnt="0"/>
      <dgm:spPr/>
    </dgm:pt>
    <dgm:pt modelId="{A1821464-CF6A-43C8-B9D4-2DA00EBEF0E2}" type="pres">
      <dgm:prSet presAssocID="{8FD31C6F-0A8E-4A62-A22E-37C5D606D2AD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AFBB7167-037D-4143-AFAD-B9FFCEB4AD2D}" type="pres">
      <dgm:prSet presAssocID="{8FD31C6F-0A8E-4A62-A22E-37C5D606D2AD}" presName="parSh" presStyleLbl="node1" presStyleIdx="0" presStyleCnt="2"/>
      <dgm:spPr/>
    </dgm:pt>
    <dgm:pt modelId="{EC6E0704-D7F3-40F2-9655-E7B91DB91D31}" type="pres">
      <dgm:prSet presAssocID="{8FD31C6F-0A8E-4A62-A22E-37C5D606D2AD}" presName="desTx" presStyleLbl="fgAcc1" presStyleIdx="0" presStyleCnt="2">
        <dgm:presLayoutVars>
          <dgm:bulletEnabled val="1"/>
        </dgm:presLayoutVars>
      </dgm:prSet>
      <dgm:spPr/>
    </dgm:pt>
    <dgm:pt modelId="{5F0208F9-C675-4C09-A872-116F75654DE2}" type="pres">
      <dgm:prSet presAssocID="{3D593732-3792-4417-9B4C-5E17E6485FD9}" presName="sibTrans" presStyleLbl="sibTrans2D1" presStyleIdx="0" presStyleCnt="1"/>
      <dgm:spPr/>
    </dgm:pt>
    <dgm:pt modelId="{53269887-10ED-4FDA-9A2A-8DE69D3015AA}" type="pres">
      <dgm:prSet presAssocID="{3D593732-3792-4417-9B4C-5E17E6485FD9}" presName="connTx" presStyleLbl="sibTrans2D1" presStyleIdx="0" presStyleCnt="1"/>
      <dgm:spPr/>
    </dgm:pt>
    <dgm:pt modelId="{A22D2B46-4B6F-4A13-BAED-AA52F10F92E4}" type="pres">
      <dgm:prSet presAssocID="{8FC79BDB-7616-4857-8EC7-29664F8CDE93}" presName="composite" presStyleCnt="0"/>
      <dgm:spPr/>
    </dgm:pt>
    <dgm:pt modelId="{1ADF9AD5-BF3E-4098-929C-DFCF61A17690}" type="pres">
      <dgm:prSet presAssocID="{8FC79BDB-7616-4857-8EC7-29664F8CDE93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E5FCCD08-7344-4321-A496-8C43FF65EF0A}" type="pres">
      <dgm:prSet presAssocID="{8FC79BDB-7616-4857-8EC7-29664F8CDE93}" presName="parSh" presStyleLbl="node1" presStyleIdx="1" presStyleCnt="2" custLinFactNeighborX="-732" custLinFactNeighborY="-3230"/>
      <dgm:spPr/>
    </dgm:pt>
    <dgm:pt modelId="{20DE9B5A-D566-42FC-B59B-E19A253DFF51}" type="pres">
      <dgm:prSet presAssocID="{8FC79BDB-7616-4857-8EC7-29664F8CDE93}" presName="desTx" presStyleLbl="fgAcc1" presStyleIdx="1" presStyleCnt="2">
        <dgm:presLayoutVars>
          <dgm:bulletEnabled val="1"/>
        </dgm:presLayoutVars>
      </dgm:prSet>
      <dgm:spPr/>
    </dgm:pt>
  </dgm:ptLst>
  <dgm:cxnLst>
    <dgm:cxn modelId="{9A09AD02-4004-1240-AD0D-2DF3D7A7128A}" type="presOf" srcId="{9E31A234-341F-234B-88CD-FE718CFE8DEB}" destId="{20DE9B5A-D566-42FC-B59B-E19A253DFF51}" srcOrd="0" destOrd="1" presId="urn:microsoft.com/office/officeart/2005/8/layout/process3"/>
    <dgm:cxn modelId="{55F1E503-120F-49B9-BD80-7A68170E3CD1}" type="presOf" srcId="{3D593732-3792-4417-9B4C-5E17E6485FD9}" destId="{53269887-10ED-4FDA-9A2A-8DE69D3015AA}" srcOrd="1" destOrd="0" presId="urn:microsoft.com/office/officeart/2005/8/layout/process3"/>
    <dgm:cxn modelId="{4A34D613-07C7-489C-9F77-C55649165789}" srcId="{18DE029D-4010-460D-9C98-AC0D755CBAD6}" destId="{61E85977-52B2-4331-B655-E3E66A0E1737}" srcOrd="0" destOrd="0" parTransId="{2DB3D76A-130A-424B-B025-7DC33B94C7FD}" sibTransId="{5EB106F6-679B-47D7-B00D-F1CDE67C5EAC}"/>
    <dgm:cxn modelId="{635BF228-D6E3-463B-8995-22DDE42C3233}" type="presOf" srcId="{61E85977-52B2-4331-B655-E3E66A0E1737}" destId="{EC6E0704-D7F3-40F2-9655-E7B91DB91D31}" srcOrd="0" destOrd="1" presId="urn:microsoft.com/office/officeart/2005/8/layout/process3"/>
    <dgm:cxn modelId="{8B8F3E2B-9725-4E25-B3CD-EC8A7C0CE870}" type="presOf" srcId="{18DE029D-4010-460D-9C98-AC0D755CBAD6}" destId="{EC6E0704-D7F3-40F2-9655-E7B91DB91D31}" srcOrd="0" destOrd="0" presId="urn:microsoft.com/office/officeart/2005/8/layout/process3"/>
    <dgm:cxn modelId="{D14CDA2C-4163-4065-8FB2-CBC6D9374433}" type="presOf" srcId="{8FC79BDB-7616-4857-8EC7-29664F8CDE93}" destId="{E5FCCD08-7344-4321-A496-8C43FF65EF0A}" srcOrd="1" destOrd="0" presId="urn:microsoft.com/office/officeart/2005/8/layout/process3"/>
    <dgm:cxn modelId="{40A1F62D-76F2-4B01-8EBB-317B27390711}" srcId="{18DE029D-4010-460D-9C98-AC0D755CBAD6}" destId="{AEB0C01B-3288-48FD-A6B3-C0E754FC7205}" srcOrd="1" destOrd="0" parTransId="{A17FD9A8-791C-4C54-B30A-42DF4391415C}" sibTransId="{B97407DB-38A8-48BB-B519-E33FA874FA11}"/>
    <dgm:cxn modelId="{287E9C3B-8422-5148-A0DD-079E0B403FA4}" type="presOf" srcId="{7D85D818-DB68-C747-A367-28B9760756D3}" destId="{EC6E0704-D7F3-40F2-9655-E7B91DB91D31}" srcOrd="0" destOrd="4" presId="urn:microsoft.com/office/officeart/2005/8/layout/process3"/>
    <dgm:cxn modelId="{F64C353D-EF45-8543-89AE-1D720F6D6C83}" srcId="{18DE029D-4010-460D-9C98-AC0D755CBAD6}" destId="{DC1B7250-5E11-3149-BA6F-DF1E774E2C7C}" srcOrd="2" destOrd="0" parTransId="{FA5A7DEF-27B7-5247-8945-CE68BCE08031}" sibTransId="{90CF286D-541B-F04D-8873-B21D0A3AF19B}"/>
    <dgm:cxn modelId="{53414347-F844-49C2-B24C-DCA27890B410}" srcId="{8FD31C6F-0A8E-4A62-A22E-37C5D606D2AD}" destId="{18DE029D-4010-460D-9C98-AC0D755CBAD6}" srcOrd="0" destOrd="0" parTransId="{15BC89A2-6FFD-4FE6-AD7B-B363C195D43E}" sibTransId="{6DF3B9E5-1FF6-4D0A-BE73-68B1624860B6}"/>
    <dgm:cxn modelId="{DDFA8468-EFBE-C647-AE63-26B00F24DB0C}" srcId="{18DE029D-4010-460D-9C98-AC0D755CBAD6}" destId="{7D85D818-DB68-C747-A367-28B9760756D3}" srcOrd="3" destOrd="0" parTransId="{EC5D4B97-6628-934E-849F-512615BCA4F3}" sibTransId="{F214249C-A691-7B46-9232-B68D86FFD62A}"/>
    <dgm:cxn modelId="{D29A6276-5193-4E1F-8C9C-8FC58ADB2186}" type="presOf" srcId="{5F173ACB-168E-4B72-A22D-783D2A056A2A}" destId="{718BF8E5-3A02-41A9-8181-5E410247A40C}" srcOrd="0" destOrd="0" presId="urn:microsoft.com/office/officeart/2005/8/layout/process3"/>
    <dgm:cxn modelId="{8E2CD278-D779-1440-BB0B-98A9D6CEF8CA}" type="presOf" srcId="{DC1B7250-5E11-3149-BA6F-DF1E774E2C7C}" destId="{EC6E0704-D7F3-40F2-9655-E7B91DB91D31}" srcOrd="0" destOrd="3" presId="urn:microsoft.com/office/officeart/2005/8/layout/process3"/>
    <dgm:cxn modelId="{9B79465A-1394-4D54-AE25-C8AA92517A50}" type="presOf" srcId="{3D593732-3792-4417-9B4C-5E17E6485FD9}" destId="{5F0208F9-C675-4C09-A872-116F75654DE2}" srcOrd="0" destOrd="0" presId="urn:microsoft.com/office/officeart/2005/8/layout/process3"/>
    <dgm:cxn modelId="{7BE0E883-C6B3-467D-85DE-BD564B841B66}" type="presOf" srcId="{B393DA64-916A-4594-9CF3-65280C3A79D7}" destId="{20DE9B5A-D566-42FC-B59B-E19A253DFF51}" srcOrd="0" destOrd="0" presId="urn:microsoft.com/office/officeart/2005/8/layout/process3"/>
    <dgm:cxn modelId="{DF033F96-E7A3-4425-B866-BC7246A008BE}" type="presOf" srcId="{8FD31C6F-0A8E-4A62-A22E-37C5D606D2AD}" destId="{AFBB7167-037D-4143-AFAD-B9FFCEB4AD2D}" srcOrd="1" destOrd="0" presId="urn:microsoft.com/office/officeart/2005/8/layout/process3"/>
    <dgm:cxn modelId="{992B0198-9CBE-44D0-A4D0-AB577C6CCD3E}" srcId="{8FC79BDB-7616-4857-8EC7-29664F8CDE93}" destId="{B393DA64-916A-4594-9CF3-65280C3A79D7}" srcOrd="0" destOrd="0" parTransId="{190EE968-8A48-464D-AE35-1D735F0E715B}" sibTransId="{B77C3A88-869A-4AEE-B0A3-8686ECD9A7D8}"/>
    <dgm:cxn modelId="{C4D87D9F-2674-4E02-8584-B962CB821403}" srcId="{5F173ACB-168E-4B72-A22D-783D2A056A2A}" destId="{8FD31C6F-0A8E-4A62-A22E-37C5D606D2AD}" srcOrd="0" destOrd="0" parTransId="{FB205182-E984-485A-9DDB-CD4F7EB32BC7}" sibTransId="{3D593732-3792-4417-9B4C-5E17E6485FD9}"/>
    <dgm:cxn modelId="{690144A2-26CE-4DB3-96A2-0FE5CA36B2F8}" srcId="{5F173ACB-168E-4B72-A22D-783D2A056A2A}" destId="{8FC79BDB-7616-4857-8EC7-29664F8CDE93}" srcOrd="1" destOrd="0" parTransId="{731BCC3B-4687-4856-AF11-BD278147CA26}" sibTransId="{65774911-0C00-4988-8E8C-B40D321BB75B}"/>
    <dgm:cxn modelId="{6EC14CA8-DB2D-3541-871D-961B8A20E851}" type="presOf" srcId="{C26BCA9B-0ACB-AC4C-AAAF-E0872F5ACD6E}" destId="{20DE9B5A-D566-42FC-B59B-E19A253DFF51}" srcOrd="0" destOrd="2" presId="urn:microsoft.com/office/officeart/2005/8/layout/process3"/>
    <dgm:cxn modelId="{EB2893AA-C3BC-48F4-9239-BC3988E3E223}" type="presOf" srcId="{8FD31C6F-0A8E-4A62-A22E-37C5D606D2AD}" destId="{A1821464-CF6A-43C8-B9D4-2DA00EBEF0E2}" srcOrd="0" destOrd="0" presId="urn:microsoft.com/office/officeart/2005/8/layout/process3"/>
    <dgm:cxn modelId="{5882EDD2-A08B-3A4B-BDC4-ADA8375A60E4}" srcId="{8FC79BDB-7616-4857-8EC7-29664F8CDE93}" destId="{9E31A234-341F-234B-88CD-FE718CFE8DEB}" srcOrd="1" destOrd="0" parTransId="{BB9B3EBF-E4C1-1E47-936C-17ED70E6C1ED}" sibTransId="{B1C62D1D-996F-FC44-A692-2AE4BA625873}"/>
    <dgm:cxn modelId="{D8346BF6-AAFE-4E41-8BFF-D7B06F4B2ECB}" type="presOf" srcId="{AEB0C01B-3288-48FD-A6B3-C0E754FC7205}" destId="{EC6E0704-D7F3-40F2-9655-E7B91DB91D31}" srcOrd="0" destOrd="2" presId="urn:microsoft.com/office/officeart/2005/8/layout/process3"/>
    <dgm:cxn modelId="{F638CDFC-8D21-6F4B-BA44-4CFD3D20D523}" srcId="{8FC79BDB-7616-4857-8EC7-29664F8CDE93}" destId="{C26BCA9B-0ACB-AC4C-AAAF-E0872F5ACD6E}" srcOrd="2" destOrd="0" parTransId="{352B8986-5887-234B-B57A-62420B0CE76F}" sibTransId="{AA83173C-28BB-E846-930F-47FBAD5002EF}"/>
    <dgm:cxn modelId="{05C405FD-A609-438C-A62A-534F5C9017CD}" type="presOf" srcId="{8FC79BDB-7616-4857-8EC7-29664F8CDE93}" destId="{1ADF9AD5-BF3E-4098-929C-DFCF61A17690}" srcOrd="0" destOrd="0" presId="urn:microsoft.com/office/officeart/2005/8/layout/process3"/>
    <dgm:cxn modelId="{C6CE169F-4676-4AE8-B482-9B3771C45C36}" type="presParOf" srcId="{718BF8E5-3A02-41A9-8181-5E410247A40C}" destId="{D19542B4-321A-4575-95C8-405528B909D9}" srcOrd="0" destOrd="0" presId="urn:microsoft.com/office/officeart/2005/8/layout/process3"/>
    <dgm:cxn modelId="{5B9A5BC8-CDEB-4BEE-BF98-A4807402E527}" type="presParOf" srcId="{D19542B4-321A-4575-95C8-405528B909D9}" destId="{A1821464-CF6A-43C8-B9D4-2DA00EBEF0E2}" srcOrd="0" destOrd="0" presId="urn:microsoft.com/office/officeart/2005/8/layout/process3"/>
    <dgm:cxn modelId="{3C01DDB4-0570-4023-94A0-C3BA731CC0EE}" type="presParOf" srcId="{D19542B4-321A-4575-95C8-405528B909D9}" destId="{AFBB7167-037D-4143-AFAD-B9FFCEB4AD2D}" srcOrd="1" destOrd="0" presId="urn:microsoft.com/office/officeart/2005/8/layout/process3"/>
    <dgm:cxn modelId="{44D29CE1-1650-4289-A9DB-94BA2E6AA7CB}" type="presParOf" srcId="{D19542B4-321A-4575-95C8-405528B909D9}" destId="{EC6E0704-D7F3-40F2-9655-E7B91DB91D31}" srcOrd="2" destOrd="0" presId="urn:microsoft.com/office/officeart/2005/8/layout/process3"/>
    <dgm:cxn modelId="{DDB31428-5252-41B3-86EB-937A6CA9B695}" type="presParOf" srcId="{718BF8E5-3A02-41A9-8181-5E410247A40C}" destId="{5F0208F9-C675-4C09-A872-116F75654DE2}" srcOrd="1" destOrd="0" presId="urn:microsoft.com/office/officeart/2005/8/layout/process3"/>
    <dgm:cxn modelId="{7F0A1751-C2F8-46B3-8BBE-62A6B3E1679D}" type="presParOf" srcId="{5F0208F9-C675-4C09-A872-116F75654DE2}" destId="{53269887-10ED-4FDA-9A2A-8DE69D3015AA}" srcOrd="0" destOrd="0" presId="urn:microsoft.com/office/officeart/2005/8/layout/process3"/>
    <dgm:cxn modelId="{9DFEB762-593C-4CAB-8ACE-E478568BA671}" type="presParOf" srcId="{718BF8E5-3A02-41A9-8181-5E410247A40C}" destId="{A22D2B46-4B6F-4A13-BAED-AA52F10F92E4}" srcOrd="2" destOrd="0" presId="urn:microsoft.com/office/officeart/2005/8/layout/process3"/>
    <dgm:cxn modelId="{9347587D-1A3F-472A-9438-FCBB7EF56F6A}" type="presParOf" srcId="{A22D2B46-4B6F-4A13-BAED-AA52F10F92E4}" destId="{1ADF9AD5-BF3E-4098-929C-DFCF61A17690}" srcOrd="0" destOrd="0" presId="urn:microsoft.com/office/officeart/2005/8/layout/process3"/>
    <dgm:cxn modelId="{33BFDBB3-40EF-418D-9B15-E7EE45D92F1E}" type="presParOf" srcId="{A22D2B46-4B6F-4A13-BAED-AA52F10F92E4}" destId="{E5FCCD08-7344-4321-A496-8C43FF65EF0A}" srcOrd="1" destOrd="0" presId="urn:microsoft.com/office/officeart/2005/8/layout/process3"/>
    <dgm:cxn modelId="{8715E1C7-7654-4CEE-9142-448E288CE58F}" type="presParOf" srcId="{A22D2B46-4B6F-4A13-BAED-AA52F10F92E4}" destId="{20DE9B5A-D566-42FC-B59B-E19A253DFF51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F173ACB-168E-4B72-A22D-783D2A056A2A}" type="doc">
      <dgm:prSet loTypeId="urn:microsoft.com/office/officeart/2005/8/layout/process3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8FD31C6F-0A8E-4A62-A22E-37C5D606D2AD}">
      <dgm:prSet phldrT="[Text]" phldr="0"/>
      <dgm:spPr/>
      <dgm:t>
        <a:bodyPr/>
        <a:lstStyle/>
        <a:p>
          <a:pPr rtl="0"/>
          <a:r>
            <a:rPr lang="en-US" dirty="0">
              <a:solidFill>
                <a:schemeClr val="bg1"/>
              </a:solidFill>
              <a:latin typeface="DM Sans" pitchFamily="2" charset="77"/>
            </a:rPr>
            <a:t>Summer 2026</a:t>
          </a:r>
        </a:p>
      </dgm:t>
    </dgm:pt>
    <dgm:pt modelId="{FB205182-E984-485A-9DDB-CD4F7EB32BC7}" type="parTrans" cxnId="{C4D87D9F-2674-4E02-8584-B962CB821403}">
      <dgm:prSet/>
      <dgm:spPr/>
      <dgm:t>
        <a:bodyPr/>
        <a:lstStyle/>
        <a:p>
          <a:endParaRPr lang="en-US"/>
        </a:p>
      </dgm:t>
    </dgm:pt>
    <dgm:pt modelId="{3D593732-3792-4417-9B4C-5E17E6485FD9}" type="sibTrans" cxnId="{C4D87D9F-2674-4E02-8584-B962CB821403}">
      <dgm:prSet/>
      <dgm:spPr/>
      <dgm:t>
        <a:bodyPr/>
        <a:lstStyle/>
        <a:p>
          <a:endParaRPr lang="en-US"/>
        </a:p>
      </dgm:t>
    </dgm:pt>
    <dgm:pt modelId="{8FC79BDB-7616-4857-8EC7-29664F8CDE93}">
      <dgm:prSet phldrT="[Text]" phldr="0"/>
      <dgm:spPr/>
      <dgm:t>
        <a:bodyPr/>
        <a:lstStyle/>
        <a:p>
          <a:pPr rtl="0"/>
          <a:r>
            <a:rPr lang="en-US">
              <a:solidFill>
                <a:schemeClr val="tx1"/>
              </a:solidFill>
              <a:latin typeface="DM Sans" pitchFamily="2" charset="77"/>
            </a:rPr>
            <a:t>Fall 2026</a:t>
          </a:r>
        </a:p>
      </dgm:t>
    </dgm:pt>
    <dgm:pt modelId="{731BCC3B-4687-4856-AF11-BD278147CA26}" type="parTrans" cxnId="{690144A2-26CE-4DB3-96A2-0FE5CA36B2F8}">
      <dgm:prSet/>
      <dgm:spPr/>
      <dgm:t>
        <a:bodyPr/>
        <a:lstStyle/>
        <a:p>
          <a:endParaRPr lang="en-US"/>
        </a:p>
      </dgm:t>
    </dgm:pt>
    <dgm:pt modelId="{65774911-0C00-4988-8E8C-B40D321BB75B}" type="sibTrans" cxnId="{690144A2-26CE-4DB3-96A2-0FE5CA36B2F8}">
      <dgm:prSet/>
      <dgm:spPr/>
      <dgm:t>
        <a:bodyPr/>
        <a:lstStyle/>
        <a:p>
          <a:endParaRPr lang="en-US"/>
        </a:p>
      </dgm:t>
    </dgm:pt>
    <dgm:pt modelId="{B393DA64-916A-4594-9CF3-65280C3A79D7}">
      <dgm:prSet phldrT="[Text]" phldr="0" custT="1"/>
      <dgm:spPr/>
      <dgm:t>
        <a:bodyPr/>
        <a:lstStyle/>
        <a:p>
          <a:pPr rtl="0"/>
          <a:r>
            <a:rPr lang="en-US" sz="1400" dirty="0">
              <a:latin typeface="DM Sans" pitchFamily="2" charset="77"/>
            </a:rPr>
            <a:t>Initiative launch at Annual Conference</a:t>
          </a:r>
        </a:p>
      </dgm:t>
    </dgm:pt>
    <dgm:pt modelId="{190EE968-8A48-464D-AE35-1D735F0E715B}" type="parTrans" cxnId="{992B0198-9CBE-44D0-A4D0-AB577C6CCD3E}">
      <dgm:prSet/>
      <dgm:spPr/>
      <dgm:t>
        <a:bodyPr/>
        <a:lstStyle/>
        <a:p>
          <a:endParaRPr lang="en-US"/>
        </a:p>
      </dgm:t>
    </dgm:pt>
    <dgm:pt modelId="{B77C3A88-869A-4AEE-B0A3-8686ECD9A7D8}" type="sibTrans" cxnId="{992B0198-9CBE-44D0-A4D0-AB577C6CCD3E}">
      <dgm:prSet/>
      <dgm:spPr/>
      <dgm:t>
        <a:bodyPr/>
        <a:lstStyle/>
        <a:p>
          <a:endParaRPr lang="en-US"/>
        </a:p>
      </dgm:t>
    </dgm:pt>
    <dgm:pt modelId="{82A82C21-40D8-4EB6-BE1D-B83DA797F799}">
      <dgm:prSet phldr="0" custT="1"/>
      <dgm:spPr/>
      <dgm:t>
        <a:bodyPr/>
        <a:lstStyle/>
        <a:p>
          <a:pPr rtl="0"/>
          <a:r>
            <a:rPr lang="en-US" sz="1400" dirty="0">
              <a:latin typeface="DM Sans" pitchFamily="2" charset="77"/>
            </a:rPr>
            <a:t>Continued toolkit development</a:t>
          </a:r>
        </a:p>
      </dgm:t>
    </dgm:pt>
    <dgm:pt modelId="{384137AF-DB66-4A4A-B0C2-629938504569}" type="parTrans" cxnId="{55F4BBC4-288A-4DDF-9714-86C6AD1F56B3}">
      <dgm:prSet/>
      <dgm:spPr/>
      <dgm:t>
        <a:bodyPr/>
        <a:lstStyle/>
        <a:p>
          <a:endParaRPr lang="en-US"/>
        </a:p>
      </dgm:t>
    </dgm:pt>
    <dgm:pt modelId="{DBD315AA-1501-4D70-89E4-8A030249EC52}" type="sibTrans" cxnId="{55F4BBC4-288A-4DDF-9714-86C6AD1F56B3}">
      <dgm:prSet/>
      <dgm:spPr/>
      <dgm:t>
        <a:bodyPr/>
        <a:lstStyle/>
        <a:p>
          <a:endParaRPr lang="en-US"/>
        </a:p>
      </dgm:t>
    </dgm:pt>
    <dgm:pt modelId="{EE3F6B98-239B-4F49-B00F-B3F297BE4F6F}">
      <dgm:prSet phldr="0" custT="1"/>
      <dgm:spPr/>
      <dgm:t>
        <a:bodyPr/>
        <a:lstStyle/>
        <a:p>
          <a:pPr rtl="0"/>
          <a:r>
            <a:rPr lang="en-US" sz="1400" dirty="0">
              <a:latin typeface="DM Sans" pitchFamily="2" charset="77"/>
            </a:rPr>
            <a:t>Recruitment of hospital teams for Wave 1</a:t>
          </a:r>
        </a:p>
      </dgm:t>
    </dgm:pt>
    <dgm:pt modelId="{A081C40F-3C8D-49D6-A51A-69BD6C2F766E}" type="parTrans" cxnId="{D24C39FF-62DA-4FE4-88CD-DBE6539D3847}">
      <dgm:prSet/>
      <dgm:spPr/>
      <dgm:t>
        <a:bodyPr/>
        <a:lstStyle/>
        <a:p>
          <a:endParaRPr lang="en-US"/>
        </a:p>
      </dgm:t>
    </dgm:pt>
    <dgm:pt modelId="{7AEF46AB-91A4-4E54-8732-BB492A722CA1}" type="sibTrans" cxnId="{D24C39FF-62DA-4FE4-88CD-DBE6539D3847}">
      <dgm:prSet/>
      <dgm:spPr/>
      <dgm:t>
        <a:bodyPr/>
        <a:lstStyle/>
        <a:p>
          <a:endParaRPr lang="en-US"/>
        </a:p>
      </dgm:t>
    </dgm:pt>
    <dgm:pt modelId="{74FF93D5-A821-4E46-B80B-A3A2DE29C75D}">
      <dgm:prSet phldrT="[Text]" phldr="0" custT="1"/>
      <dgm:spPr/>
      <dgm:t>
        <a:bodyPr/>
        <a:lstStyle/>
        <a:p>
          <a:pPr rtl="0"/>
          <a:r>
            <a:rPr lang="en-US" sz="1400" dirty="0">
              <a:latin typeface="DM Sans" pitchFamily="2" charset="77"/>
            </a:rPr>
            <a:t>Data system planned to open January 2027</a:t>
          </a:r>
        </a:p>
      </dgm:t>
    </dgm:pt>
    <dgm:pt modelId="{DBD4E61C-DA88-B341-A31A-2B59817CF258}" type="parTrans" cxnId="{AE3B4E13-F1EB-DD4B-96C9-606C99ED9FE6}">
      <dgm:prSet/>
      <dgm:spPr/>
      <dgm:t>
        <a:bodyPr/>
        <a:lstStyle/>
        <a:p>
          <a:endParaRPr lang="en-US"/>
        </a:p>
      </dgm:t>
    </dgm:pt>
    <dgm:pt modelId="{6422D156-B059-1146-B51B-CD07977A9F2E}" type="sibTrans" cxnId="{AE3B4E13-F1EB-DD4B-96C9-606C99ED9FE6}">
      <dgm:prSet/>
      <dgm:spPr/>
      <dgm:t>
        <a:bodyPr/>
        <a:lstStyle/>
        <a:p>
          <a:endParaRPr lang="en-US"/>
        </a:p>
      </dgm:t>
    </dgm:pt>
    <dgm:pt modelId="{2DAF1B59-A015-EB4D-A132-A4446AF91742}">
      <dgm:prSet phldrT="[Text]" phldr="0" custT="1"/>
      <dgm:spPr/>
      <dgm:t>
        <a:bodyPr/>
        <a:lstStyle/>
        <a:p>
          <a:pPr rtl="0"/>
          <a:r>
            <a:rPr lang="en-US" sz="1400" dirty="0">
              <a:latin typeface="DM Sans" pitchFamily="2" charset="77"/>
            </a:rPr>
            <a:t>Wave 1</a:t>
          </a:r>
        </a:p>
      </dgm:t>
    </dgm:pt>
    <dgm:pt modelId="{6CE77372-DD64-314D-A545-BB23FC0D2402}" type="parTrans" cxnId="{55414A27-EB4A-1547-B276-6BB36CE972F6}">
      <dgm:prSet/>
      <dgm:spPr/>
      <dgm:t>
        <a:bodyPr/>
        <a:lstStyle/>
        <a:p>
          <a:endParaRPr lang="en-US"/>
        </a:p>
      </dgm:t>
    </dgm:pt>
    <dgm:pt modelId="{A03BA758-8709-1340-8D4C-0142FED058CD}" type="sibTrans" cxnId="{55414A27-EB4A-1547-B276-6BB36CE972F6}">
      <dgm:prSet/>
      <dgm:spPr/>
      <dgm:t>
        <a:bodyPr/>
        <a:lstStyle/>
        <a:p>
          <a:endParaRPr lang="en-US"/>
        </a:p>
      </dgm:t>
    </dgm:pt>
    <dgm:pt modelId="{B288B8EE-087C-5C47-8606-41F626E30223}">
      <dgm:prSet phldr="0" custT="1"/>
      <dgm:spPr/>
      <dgm:t>
        <a:bodyPr/>
        <a:lstStyle/>
        <a:p>
          <a:r>
            <a:rPr lang="en-US" sz="1400" dirty="0">
              <a:latin typeface="DM Sans" pitchFamily="2" charset="77"/>
            </a:rPr>
            <a:t>Data form development</a:t>
          </a:r>
        </a:p>
      </dgm:t>
    </dgm:pt>
    <dgm:pt modelId="{E7F64D8F-372B-C54B-8195-997121A117E0}" type="parTrans" cxnId="{8415C5CD-C9C3-CA44-B241-EEAD47E3AE3B}">
      <dgm:prSet/>
      <dgm:spPr/>
      <dgm:t>
        <a:bodyPr/>
        <a:lstStyle/>
        <a:p>
          <a:endParaRPr lang="en-US"/>
        </a:p>
      </dgm:t>
    </dgm:pt>
    <dgm:pt modelId="{DCB24C96-25A7-6B43-A94C-4B6F627545F8}" type="sibTrans" cxnId="{8415C5CD-C9C3-CA44-B241-EEAD47E3AE3B}">
      <dgm:prSet/>
      <dgm:spPr/>
      <dgm:t>
        <a:bodyPr/>
        <a:lstStyle/>
        <a:p>
          <a:endParaRPr lang="en-US"/>
        </a:p>
      </dgm:t>
    </dgm:pt>
    <dgm:pt modelId="{718BF8E5-3A02-41A9-8181-5E410247A40C}" type="pres">
      <dgm:prSet presAssocID="{5F173ACB-168E-4B72-A22D-783D2A056A2A}" presName="linearFlow" presStyleCnt="0">
        <dgm:presLayoutVars>
          <dgm:dir/>
          <dgm:animLvl val="lvl"/>
          <dgm:resizeHandles val="exact"/>
        </dgm:presLayoutVars>
      </dgm:prSet>
      <dgm:spPr/>
    </dgm:pt>
    <dgm:pt modelId="{D19542B4-321A-4575-95C8-405528B909D9}" type="pres">
      <dgm:prSet presAssocID="{8FD31C6F-0A8E-4A62-A22E-37C5D606D2AD}" presName="composite" presStyleCnt="0"/>
      <dgm:spPr/>
    </dgm:pt>
    <dgm:pt modelId="{A1821464-CF6A-43C8-B9D4-2DA00EBEF0E2}" type="pres">
      <dgm:prSet presAssocID="{8FD31C6F-0A8E-4A62-A22E-37C5D606D2AD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AFBB7167-037D-4143-AFAD-B9FFCEB4AD2D}" type="pres">
      <dgm:prSet presAssocID="{8FD31C6F-0A8E-4A62-A22E-37C5D606D2AD}" presName="parSh" presStyleLbl="node1" presStyleIdx="0" presStyleCnt="2"/>
      <dgm:spPr/>
    </dgm:pt>
    <dgm:pt modelId="{EC6E0704-D7F3-40F2-9655-E7B91DB91D31}" type="pres">
      <dgm:prSet presAssocID="{8FD31C6F-0A8E-4A62-A22E-37C5D606D2AD}" presName="desTx" presStyleLbl="fgAcc1" presStyleIdx="0" presStyleCnt="2">
        <dgm:presLayoutVars>
          <dgm:bulletEnabled val="1"/>
        </dgm:presLayoutVars>
      </dgm:prSet>
      <dgm:spPr/>
    </dgm:pt>
    <dgm:pt modelId="{5F0208F9-C675-4C09-A872-116F75654DE2}" type="pres">
      <dgm:prSet presAssocID="{3D593732-3792-4417-9B4C-5E17E6485FD9}" presName="sibTrans" presStyleLbl="sibTrans2D1" presStyleIdx="0" presStyleCnt="1"/>
      <dgm:spPr/>
    </dgm:pt>
    <dgm:pt modelId="{53269887-10ED-4FDA-9A2A-8DE69D3015AA}" type="pres">
      <dgm:prSet presAssocID="{3D593732-3792-4417-9B4C-5E17E6485FD9}" presName="connTx" presStyleLbl="sibTrans2D1" presStyleIdx="0" presStyleCnt="1"/>
      <dgm:spPr/>
    </dgm:pt>
    <dgm:pt modelId="{A22D2B46-4B6F-4A13-BAED-AA52F10F92E4}" type="pres">
      <dgm:prSet presAssocID="{8FC79BDB-7616-4857-8EC7-29664F8CDE93}" presName="composite" presStyleCnt="0"/>
      <dgm:spPr/>
    </dgm:pt>
    <dgm:pt modelId="{1ADF9AD5-BF3E-4098-929C-DFCF61A17690}" type="pres">
      <dgm:prSet presAssocID="{8FC79BDB-7616-4857-8EC7-29664F8CDE93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E5FCCD08-7344-4321-A496-8C43FF65EF0A}" type="pres">
      <dgm:prSet presAssocID="{8FC79BDB-7616-4857-8EC7-29664F8CDE93}" presName="parSh" presStyleLbl="node1" presStyleIdx="1" presStyleCnt="2"/>
      <dgm:spPr/>
    </dgm:pt>
    <dgm:pt modelId="{20DE9B5A-D566-42FC-B59B-E19A253DFF51}" type="pres">
      <dgm:prSet presAssocID="{8FC79BDB-7616-4857-8EC7-29664F8CDE93}" presName="desTx" presStyleLbl="fgAcc1" presStyleIdx="1" presStyleCnt="2">
        <dgm:presLayoutVars>
          <dgm:bulletEnabled val="1"/>
        </dgm:presLayoutVars>
      </dgm:prSet>
      <dgm:spPr/>
    </dgm:pt>
  </dgm:ptLst>
  <dgm:cxnLst>
    <dgm:cxn modelId="{AE3B4E13-F1EB-DD4B-96C9-606C99ED9FE6}" srcId="{8FC79BDB-7616-4857-8EC7-29664F8CDE93}" destId="{74FF93D5-A821-4E46-B80B-A3A2DE29C75D}" srcOrd="2" destOrd="0" parTransId="{DBD4E61C-DA88-B341-A31A-2B59817CF258}" sibTransId="{6422D156-B059-1146-B51B-CD07977A9F2E}"/>
    <dgm:cxn modelId="{55414A27-EB4A-1547-B276-6BB36CE972F6}" srcId="{8FC79BDB-7616-4857-8EC7-29664F8CDE93}" destId="{2DAF1B59-A015-EB4D-A132-A4446AF91742}" srcOrd="0" destOrd="0" parTransId="{6CE77372-DD64-314D-A545-BB23FC0D2402}" sibTransId="{A03BA758-8709-1340-8D4C-0142FED058CD}"/>
    <dgm:cxn modelId="{7370E42E-2844-824C-81F4-B1F9876EA093}" type="presOf" srcId="{B288B8EE-087C-5C47-8606-41F626E30223}" destId="{EC6E0704-D7F3-40F2-9655-E7B91DB91D31}" srcOrd="0" destOrd="0" presId="urn:microsoft.com/office/officeart/2005/8/layout/process3"/>
    <dgm:cxn modelId="{716D9840-2D99-4639-A096-10EF91F5500A}" type="presOf" srcId="{8FD31C6F-0A8E-4A62-A22E-37C5D606D2AD}" destId="{A1821464-CF6A-43C8-B9D4-2DA00EBEF0E2}" srcOrd="0" destOrd="0" presId="urn:microsoft.com/office/officeart/2005/8/layout/process3"/>
    <dgm:cxn modelId="{90E7CB5B-C0E9-864F-A963-D9210FF2B6E5}" type="presOf" srcId="{2DAF1B59-A015-EB4D-A132-A4446AF91742}" destId="{20DE9B5A-D566-42FC-B59B-E19A253DFF51}" srcOrd="0" destOrd="0" presId="urn:microsoft.com/office/officeart/2005/8/layout/process3"/>
    <dgm:cxn modelId="{9F372466-8541-4AA2-BC3A-3FAB2DE78C1B}" type="presOf" srcId="{8FC79BDB-7616-4857-8EC7-29664F8CDE93}" destId="{E5FCCD08-7344-4321-A496-8C43FF65EF0A}" srcOrd="1" destOrd="0" presId="urn:microsoft.com/office/officeart/2005/8/layout/process3"/>
    <dgm:cxn modelId="{2E104066-C2B7-784A-9071-CAA38BBE1693}" type="presOf" srcId="{74FF93D5-A821-4E46-B80B-A3A2DE29C75D}" destId="{20DE9B5A-D566-42FC-B59B-E19A253DFF51}" srcOrd="0" destOrd="2" presId="urn:microsoft.com/office/officeart/2005/8/layout/process3"/>
    <dgm:cxn modelId="{D29A6276-5193-4E1F-8C9C-8FC58ADB2186}" type="presOf" srcId="{5F173ACB-168E-4B72-A22D-783D2A056A2A}" destId="{718BF8E5-3A02-41A9-8181-5E410247A40C}" srcOrd="0" destOrd="0" presId="urn:microsoft.com/office/officeart/2005/8/layout/process3"/>
    <dgm:cxn modelId="{54C5DF89-FC44-4433-BE6C-CD44065904C7}" type="presOf" srcId="{B393DA64-916A-4594-9CF3-65280C3A79D7}" destId="{20DE9B5A-D566-42FC-B59B-E19A253DFF51}" srcOrd="0" destOrd="1" presId="urn:microsoft.com/office/officeart/2005/8/layout/process3"/>
    <dgm:cxn modelId="{992B0198-9CBE-44D0-A4D0-AB577C6CCD3E}" srcId="{8FC79BDB-7616-4857-8EC7-29664F8CDE93}" destId="{B393DA64-916A-4594-9CF3-65280C3A79D7}" srcOrd="1" destOrd="0" parTransId="{190EE968-8A48-464D-AE35-1D735F0E715B}" sibTransId="{B77C3A88-869A-4AEE-B0A3-8686ECD9A7D8}"/>
    <dgm:cxn modelId="{C4D87D9F-2674-4E02-8584-B962CB821403}" srcId="{5F173ACB-168E-4B72-A22D-783D2A056A2A}" destId="{8FD31C6F-0A8E-4A62-A22E-37C5D606D2AD}" srcOrd="0" destOrd="0" parTransId="{FB205182-E984-485A-9DDB-CD4F7EB32BC7}" sibTransId="{3D593732-3792-4417-9B4C-5E17E6485FD9}"/>
    <dgm:cxn modelId="{690144A2-26CE-4DB3-96A2-0FE5CA36B2F8}" srcId="{5F173ACB-168E-4B72-A22D-783D2A056A2A}" destId="{8FC79BDB-7616-4857-8EC7-29664F8CDE93}" srcOrd="1" destOrd="0" parTransId="{731BCC3B-4687-4856-AF11-BD278147CA26}" sibTransId="{65774911-0C00-4988-8E8C-B40D321BB75B}"/>
    <dgm:cxn modelId="{89B0F5A7-4A6B-41DF-860B-BC4A8D908595}" type="presOf" srcId="{3D593732-3792-4417-9B4C-5E17E6485FD9}" destId="{5F0208F9-C675-4C09-A872-116F75654DE2}" srcOrd="0" destOrd="0" presId="urn:microsoft.com/office/officeart/2005/8/layout/process3"/>
    <dgm:cxn modelId="{55F4BBC4-288A-4DDF-9714-86C6AD1F56B3}" srcId="{8FD31C6F-0A8E-4A62-A22E-37C5D606D2AD}" destId="{82A82C21-40D8-4EB6-BE1D-B83DA797F799}" srcOrd="1" destOrd="0" parTransId="{384137AF-DB66-4A4A-B0C2-629938504569}" sibTransId="{DBD315AA-1501-4D70-89E4-8A030249EC52}"/>
    <dgm:cxn modelId="{0811A5CB-35DD-47FA-BBF7-36BE6ED5042D}" type="presOf" srcId="{82A82C21-40D8-4EB6-BE1D-B83DA797F799}" destId="{EC6E0704-D7F3-40F2-9655-E7B91DB91D31}" srcOrd="0" destOrd="1" presId="urn:microsoft.com/office/officeart/2005/8/layout/process3"/>
    <dgm:cxn modelId="{8415C5CD-C9C3-CA44-B241-EEAD47E3AE3B}" srcId="{8FD31C6F-0A8E-4A62-A22E-37C5D606D2AD}" destId="{B288B8EE-087C-5C47-8606-41F626E30223}" srcOrd="0" destOrd="0" parTransId="{E7F64D8F-372B-C54B-8195-997121A117E0}" sibTransId="{DCB24C96-25A7-6B43-A94C-4B6F627545F8}"/>
    <dgm:cxn modelId="{2D6D58D1-2780-48BE-B680-321423006C5C}" type="presOf" srcId="{3D593732-3792-4417-9B4C-5E17E6485FD9}" destId="{53269887-10ED-4FDA-9A2A-8DE69D3015AA}" srcOrd="1" destOrd="0" presId="urn:microsoft.com/office/officeart/2005/8/layout/process3"/>
    <dgm:cxn modelId="{401187E9-5D39-46AE-8007-1D06B8FCF6DD}" type="presOf" srcId="{EE3F6B98-239B-4F49-B00F-B3F297BE4F6F}" destId="{EC6E0704-D7F3-40F2-9655-E7B91DB91D31}" srcOrd="0" destOrd="2" presId="urn:microsoft.com/office/officeart/2005/8/layout/process3"/>
    <dgm:cxn modelId="{0564D9F3-3458-4A68-8B62-AD4C94148C13}" type="presOf" srcId="{8FD31C6F-0A8E-4A62-A22E-37C5D606D2AD}" destId="{AFBB7167-037D-4143-AFAD-B9FFCEB4AD2D}" srcOrd="1" destOrd="0" presId="urn:microsoft.com/office/officeart/2005/8/layout/process3"/>
    <dgm:cxn modelId="{D24C39FF-62DA-4FE4-88CD-DBE6539D3847}" srcId="{8FD31C6F-0A8E-4A62-A22E-37C5D606D2AD}" destId="{EE3F6B98-239B-4F49-B00F-B3F297BE4F6F}" srcOrd="2" destOrd="0" parTransId="{A081C40F-3C8D-49D6-A51A-69BD6C2F766E}" sibTransId="{7AEF46AB-91A4-4E54-8732-BB492A722CA1}"/>
    <dgm:cxn modelId="{64DDC7FF-E14E-4EAA-8BAC-82F472507075}" type="presOf" srcId="{8FC79BDB-7616-4857-8EC7-29664F8CDE93}" destId="{1ADF9AD5-BF3E-4098-929C-DFCF61A17690}" srcOrd="0" destOrd="0" presId="urn:microsoft.com/office/officeart/2005/8/layout/process3"/>
    <dgm:cxn modelId="{F6C44FEB-57F5-45CD-8AA0-B2F49166305A}" type="presParOf" srcId="{718BF8E5-3A02-41A9-8181-5E410247A40C}" destId="{D19542B4-321A-4575-95C8-405528B909D9}" srcOrd="0" destOrd="0" presId="urn:microsoft.com/office/officeart/2005/8/layout/process3"/>
    <dgm:cxn modelId="{99E6EB30-2BB6-49AA-AEF6-31171B414505}" type="presParOf" srcId="{D19542B4-321A-4575-95C8-405528B909D9}" destId="{A1821464-CF6A-43C8-B9D4-2DA00EBEF0E2}" srcOrd="0" destOrd="0" presId="urn:microsoft.com/office/officeart/2005/8/layout/process3"/>
    <dgm:cxn modelId="{23EF7AD3-120D-47DF-8131-2ED2ED9D4FC5}" type="presParOf" srcId="{D19542B4-321A-4575-95C8-405528B909D9}" destId="{AFBB7167-037D-4143-AFAD-B9FFCEB4AD2D}" srcOrd="1" destOrd="0" presId="urn:microsoft.com/office/officeart/2005/8/layout/process3"/>
    <dgm:cxn modelId="{EB23E55A-114A-4E5A-888A-3B295A97B157}" type="presParOf" srcId="{D19542B4-321A-4575-95C8-405528B909D9}" destId="{EC6E0704-D7F3-40F2-9655-E7B91DB91D31}" srcOrd="2" destOrd="0" presId="urn:microsoft.com/office/officeart/2005/8/layout/process3"/>
    <dgm:cxn modelId="{5AC60CA5-02B9-4CAF-83C3-96882E24F2BB}" type="presParOf" srcId="{718BF8E5-3A02-41A9-8181-5E410247A40C}" destId="{5F0208F9-C675-4C09-A872-116F75654DE2}" srcOrd="1" destOrd="0" presId="urn:microsoft.com/office/officeart/2005/8/layout/process3"/>
    <dgm:cxn modelId="{05C1D5A1-C903-4BF0-9F62-CB97E3C09B98}" type="presParOf" srcId="{5F0208F9-C675-4C09-A872-116F75654DE2}" destId="{53269887-10ED-4FDA-9A2A-8DE69D3015AA}" srcOrd="0" destOrd="0" presId="urn:microsoft.com/office/officeart/2005/8/layout/process3"/>
    <dgm:cxn modelId="{FCAF4415-1C3E-4F39-BF81-236AD3540E5A}" type="presParOf" srcId="{718BF8E5-3A02-41A9-8181-5E410247A40C}" destId="{A22D2B46-4B6F-4A13-BAED-AA52F10F92E4}" srcOrd="2" destOrd="0" presId="urn:microsoft.com/office/officeart/2005/8/layout/process3"/>
    <dgm:cxn modelId="{C4A33CD8-6563-4449-9FF2-EB250DD5B0CD}" type="presParOf" srcId="{A22D2B46-4B6F-4A13-BAED-AA52F10F92E4}" destId="{1ADF9AD5-BF3E-4098-929C-DFCF61A17690}" srcOrd="0" destOrd="0" presId="urn:microsoft.com/office/officeart/2005/8/layout/process3"/>
    <dgm:cxn modelId="{E1A01E9E-62C6-4E06-908C-B0957DB97364}" type="presParOf" srcId="{A22D2B46-4B6F-4A13-BAED-AA52F10F92E4}" destId="{E5FCCD08-7344-4321-A496-8C43FF65EF0A}" srcOrd="1" destOrd="0" presId="urn:microsoft.com/office/officeart/2005/8/layout/process3"/>
    <dgm:cxn modelId="{E28C6CC3-03F3-40ED-8002-3EF5876CE283}" type="presParOf" srcId="{A22D2B46-4B6F-4A13-BAED-AA52F10F92E4}" destId="{20DE9B5A-D566-42FC-B59B-E19A253DFF51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AB23C9A-4EFF-46AA-8600-6121828B5B68}" type="doc">
      <dgm:prSet loTypeId="urn:microsoft.com/office/officeart/2005/8/layout/default" loCatId="list" qsTypeId="urn:microsoft.com/office/officeart/2005/8/quickstyle/simple1" qsCatId="simple" csTypeId="urn:microsoft.com/office/officeart/2005/8/colors/colorful5" csCatId="colorful" phldr="1"/>
      <dgm:spPr/>
    </dgm:pt>
    <dgm:pt modelId="{CB78533D-865B-40BF-BB93-E28B5B8993CB}">
      <dgm:prSet phldrT="[Text]" phldr="0"/>
      <dgm:spPr/>
      <dgm:t>
        <a:bodyPr/>
        <a:lstStyle/>
        <a:p>
          <a:pPr rtl="0"/>
          <a:r>
            <a:rPr lang="en-US">
              <a:latin typeface="Arial"/>
            </a:rPr>
            <a:t>Staff and Provider Education</a:t>
          </a:r>
          <a:endParaRPr lang="en-US"/>
        </a:p>
      </dgm:t>
    </dgm:pt>
    <dgm:pt modelId="{58262596-DC1F-4640-BE67-6EA4002DAF6A}" type="parTrans" cxnId="{5CF5849C-A8C3-4050-BE6B-184CD55FC629}">
      <dgm:prSet/>
      <dgm:spPr/>
      <dgm:t>
        <a:bodyPr/>
        <a:lstStyle/>
        <a:p>
          <a:endParaRPr lang="en-US"/>
        </a:p>
      </dgm:t>
    </dgm:pt>
    <dgm:pt modelId="{C2DC1B34-1B64-46B0-A43D-53BD1981FA23}" type="sibTrans" cxnId="{5CF5849C-A8C3-4050-BE6B-184CD55FC629}">
      <dgm:prSet/>
      <dgm:spPr/>
      <dgm:t>
        <a:bodyPr/>
        <a:lstStyle/>
        <a:p>
          <a:endParaRPr lang="en-US"/>
        </a:p>
      </dgm:t>
    </dgm:pt>
    <dgm:pt modelId="{52372925-28B2-4182-8BAD-5B0D10F30331}">
      <dgm:prSet phldrT="[Text]" phldr="0"/>
      <dgm:spPr/>
      <dgm:t>
        <a:bodyPr/>
        <a:lstStyle/>
        <a:p>
          <a:pPr rtl="0"/>
          <a:r>
            <a:rPr lang="en-US">
              <a:latin typeface="Arial"/>
            </a:rPr>
            <a:t>Standardized Clinical Care</a:t>
          </a:r>
        </a:p>
      </dgm:t>
    </dgm:pt>
    <dgm:pt modelId="{5C500A57-0B11-4956-9964-6ED6DA527716}" type="parTrans" cxnId="{A2EDE7DD-2243-4023-8058-5FF75D4EA564}">
      <dgm:prSet/>
      <dgm:spPr/>
      <dgm:t>
        <a:bodyPr/>
        <a:lstStyle/>
        <a:p>
          <a:endParaRPr lang="en-US"/>
        </a:p>
      </dgm:t>
    </dgm:pt>
    <dgm:pt modelId="{C1B4B822-5767-4674-AC1A-C83BD9A8C853}" type="sibTrans" cxnId="{A2EDE7DD-2243-4023-8058-5FF75D4EA564}">
      <dgm:prSet/>
      <dgm:spPr/>
      <dgm:t>
        <a:bodyPr/>
        <a:lstStyle/>
        <a:p>
          <a:endParaRPr lang="en-US"/>
        </a:p>
      </dgm:t>
    </dgm:pt>
    <dgm:pt modelId="{BA6D03A2-9B4A-4A4C-8DD9-368F90090499}">
      <dgm:prSet phldrT="[Text]" phldr="0"/>
      <dgm:spPr/>
      <dgm:t>
        <a:bodyPr/>
        <a:lstStyle/>
        <a:p>
          <a:pPr rtl="0"/>
          <a:r>
            <a:rPr lang="en-US">
              <a:latin typeface="Arial"/>
            </a:rPr>
            <a:t>Community Partnership</a:t>
          </a:r>
          <a:endParaRPr lang="en-US"/>
        </a:p>
      </dgm:t>
    </dgm:pt>
    <dgm:pt modelId="{B3C0AA3E-941E-485E-90DC-7D57618919CF}" type="parTrans" cxnId="{E53BCB7F-D9DF-48FD-9764-A16BFB5005C2}">
      <dgm:prSet/>
      <dgm:spPr/>
      <dgm:t>
        <a:bodyPr/>
        <a:lstStyle/>
        <a:p>
          <a:endParaRPr lang="en-US"/>
        </a:p>
      </dgm:t>
    </dgm:pt>
    <dgm:pt modelId="{211AAD50-ED0C-42F4-8E25-4043AD23E1BA}" type="sibTrans" cxnId="{E53BCB7F-D9DF-48FD-9764-A16BFB5005C2}">
      <dgm:prSet/>
      <dgm:spPr/>
      <dgm:t>
        <a:bodyPr/>
        <a:lstStyle/>
        <a:p>
          <a:endParaRPr lang="en-US"/>
        </a:p>
      </dgm:t>
    </dgm:pt>
    <dgm:pt modelId="{69C4D882-E6C4-4F19-8C88-FFA8B963B302}">
      <dgm:prSet phldrT="[Text]" phldr="0"/>
      <dgm:spPr/>
      <dgm:t>
        <a:bodyPr/>
        <a:lstStyle/>
        <a:p>
          <a:pPr rtl="0"/>
          <a:r>
            <a:rPr lang="en-US">
              <a:latin typeface="Arial"/>
            </a:rPr>
            <a:t>Patient and Caregiver Education</a:t>
          </a:r>
        </a:p>
      </dgm:t>
    </dgm:pt>
    <dgm:pt modelId="{D99558A6-5A45-444D-9F92-CA752CD96AFD}" type="parTrans" cxnId="{07FD01E4-043A-4A9A-8E64-8FD18B2AC478}">
      <dgm:prSet/>
      <dgm:spPr/>
      <dgm:t>
        <a:bodyPr/>
        <a:lstStyle/>
        <a:p>
          <a:endParaRPr lang="en-US"/>
        </a:p>
      </dgm:t>
    </dgm:pt>
    <dgm:pt modelId="{F47C2DC8-D3B3-4527-8670-6339E4DBC9E1}" type="sibTrans" cxnId="{07FD01E4-043A-4A9A-8E64-8FD18B2AC478}">
      <dgm:prSet/>
      <dgm:spPr/>
      <dgm:t>
        <a:bodyPr/>
        <a:lstStyle/>
        <a:p>
          <a:endParaRPr lang="en-US"/>
        </a:p>
      </dgm:t>
    </dgm:pt>
    <dgm:pt modelId="{3DAFE0AB-FD79-4AD6-B884-5D4D0BB664D5}">
      <dgm:prSet phldrT="[Text]" phldr="0"/>
      <dgm:spPr/>
      <dgm:t>
        <a:bodyPr/>
        <a:lstStyle/>
        <a:p>
          <a:pPr rtl="0"/>
          <a:r>
            <a:rPr lang="en-US">
              <a:latin typeface="Arial"/>
            </a:rPr>
            <a:t>Coordinated Discharge</a:t>
          </a:r>
          <a:endParaRPr lang="en-US"/>
        </a:p>
      </dgm:t>
    </dgm:pt>
    <dgm:pt modelId="{711E83FD-7B19-4AFC-AD61-B0595F7A7117}" type="parTrans" cxnId="{BB9FEF74-44B0-44A0-BA6E-71ADFE0A2C9D}">
      <dgm:prSet/>
      <dgm:spPr/>
      <dgm:t>
        <a:bodyPr/>
        <a:lstStyle/>
        <a:p>
          <a:endParaRPr lang="en-US"/>
        </a:p>
      </dgm:t>
    </dgm:pt>
    <dgm:pt modelId="{0812A335-C369-4DE2-BA52-19D6F561E454}" type="sibTrans" cxnId="{BB9FEF74-44B0-44A0-BA6E-71ADFE0A2C9D}">
      <dgm:prSet/>
      <dgm:spPr/>
      <dgm:t>
        <a:bodyPr/>
        <a:lstStyle/>
        <a:p>
          <a:endParaRPr lang="en-US"/>
        </a:p>
      </dgm:t>
    </dgm:pt>
    <dgm:pt modelId="{07CF8D16-46B0-4D4D-99E2-A5F89E4966F9}" type="pres">
      <dgm:prSet presAssocID="{9AB23C9A-4EFF-46AA-8600-6121828B5B68}" presName="diagram" presStyleCnt="0">
        <dgm:presLayoutVars>
          <dgm:dir/>
          <dgm:resizeHandles val="exact"/>
        </dgm:presLayoutVars>
      </dgm:prSet>
      <dgm:spPr/>
    </dgm:pt>
    <dgm:pt modelId="{02CFE41E-CC2F-4AB7-B365-5F8A82BE81E8}" type="pres">
      <dgm:prSet presAssocID="{CB78533D-865B-40BF-BB93-E28B5B8993CB}" presName="node" presStyleLbl="node1" presStyleIdx="0" presStyleCnt="5">
        <dgm:presLayoutVars>
          <dgm:bulletEnabled val="1"/>
        </dgm:presLayoutVars>
      </dgm:prSet>
      <dgm:spPr/>
    </dgm:pt>
    <dgm:pt modelId="{94D871A3-2E80-4FC9-8C8E-4410454F2C52}" type="pres">
      <dgm:prSet presAssocID="{C2DC1B34-1B64-46B0-A43D-53BD1981FA23}" presName="sibTrans" presStyleCnt="0"/>
      <dgm:spPr/>
    </dgm:pt>
    <dgm:pt modelId="{815BB696-9420-4F69-AE9E-8E5A44FE284B}" type="pres">
      <dgm:prSet presAssocID="{52372925-28B2-4182-8BAD-5B0D10F30331}" presName="node" presStyleLbl="node1" presStyleIdx="1" presStyleCnt="5">
        <dgm:presLayoutVars>
          <dgm:bulletEnabled val="1"/>
        </dgm:presLayoutVars>
      </dgm:prSet>
      <dgm:spPr/>
    </dgm:pt>
    <dgm:pt modelId="{4C80B27A-A03B-4904-BFE5-BEA9208EF773}" type="pres">
      <dgm:prSet presAssocID="{C1B4B822-5767-4674-AC1A-C83BD9A8C853}" presName="sibTrans" presStyleCnt="0"/>
      <dgm:spPr/>
    </dgm:pt>
    <dgm:pt modelId="{34F6E48E-1846-40A5-B568-734F5EABD864}" type="pres">
      <dgm:prSet presAssocID="{69C4D882-E6C4-4F19-8C88-FFA8B963B302}" presName="node" presStyleLbl="node1" presStyleIdx="2" presStyleCnt="5">
        <dgm:presLayoutVars>
          <dgm:bulletEnabled val="1"/>
        </dgm:presLayoutVars>
      </dgm:prSet>
      <dgm:spPr/>
    </dgm:pt>
    <dgm:pt modelId="{02D20D24-1AF4-454A-8EE8-4DE6C73D6D33}" type="pres">
      <dgm:prSet presAssocID="{F47C2DC8-D3B3-4527-8670-6339E4DBC9E1}" presName="sibTrans" presStyleCnt="0"/>
      <dgm:spPr/>
    </dgm:pt>
    <dgm:pt modelId="{A31830E7-9C8F-4CC8-ACB7-970FB1E1CF27}" type="pres">
      <dgm:prSet presAssocID="{3DAFE0AB-FD79-4AD6-B884-5D4D0BB664D5}" presName="node" presStyleLbl="node1" presStyleIdx="3" presStyleCnt="5">
        <dgm:presLayoutVars>
          <dgm:bulletEnabled val="1"/>
        </dgm:presLayoutVars>
      </dgm:prSet>
      <dgm:spPr/>
    </dgm:pt>
    <dgm:pt modelId="{90274C1D-367E-4095-9D1C-46AE42C13AB5}" type="pres">
      <dgm:prSet presAssocID="{0812A335-C369-4DE2-BA52-19D6F561E454}" presName="sibTrans" presStyleCnt="0"/>
      <dgm:spPr/>
    </dgm:pt>
    <dgm:pt modelId="{9AF48EF8-9BB4-4811-BECE-1723AD464226}" type="pres">
      <dgm:prSet presAssocID="{BA6D03A2-9B4A-4A4C-8DD9-368F90090499}" presName="node" presStyleLbl="node1" presStyleIdx="4" presStyleCnt="5">
        <dgm:presLayoutVars>
          <dgm:bulletEnabled val="1"/>
        </dgm:presLayoutVars>
      </dgm:prSet>
      <dgm:spPr/>
    </dgm:pt>
  </dgm:ptLst>
  <dgm:cxnLst>
    <dgm:cxn modelId="{980E0322-14E2-4ED7-A76B-FFB59C063F37}" type="presOf" srcId="{69C4D882-E6C4-4F19-8C88-FFA8B963B302}" destId="{34F6E48E-1846-40A5-B568-734F5EABD864}" srcOrd="0" destOrd="0" presId="urn:microsoft.com/office/officeart/2005/8/layout/default"/>
    <dgm:cxn modelId="{BB9FEF74-44B0-44A0-BA6E-71ADFE0A2C9D}" srcId="{9AB23C9A-4EFF-46AA-8600-6121828B5B68}" destId="{3DAFE0AB-FD79-4AD6-B884-5D4D0BB664D5}" srcOrd="3" destOrd="0" parTransId="{711E83FD-7B19-4AFC-AD61-B0595F7A7117}" sibTransId="{0812A335-C369-4DE2-BA52-19D6F561E454}"/>
    <dgm:cxn modelId="{E53BCB7F-D9DF-48FD-9764-A16BFB5005C2}" srcId="{9AB23C9A-4EFF-46AA-8600-6121828B5B68}" destId="{BA6D03A2-9B4A-4A4C-8DD9-368F90090499}" srcOrd="4" destOrd="0" parTransId="{B3C0AA3E-941E-485E-90DC-7D57618919CF}" sibTransId="{211AAD50-ED0C-42F4-8E25-4043AD23E1BA}"/>
    <dgm:cxn modelId="{5CF5849C-A8C3-4050-BE6B-184CD55FC629}" srcId="{9AB23C9A-4EFF-46AA-8600-6121828B5B68}" destId="{CB78533D-865B-40BF-BB93-E28B5B8993CB}" srcOrd="0" destOrd="0" parTransId="{58262596-DC1F-4640-BE67-6EA4002DAF6A}" sibTransId="{C2DC1B34-1B64-46B0-A43D-53BD1981FA23}"/>
    <dgm:cxn modelId="{7ABC4F9D-4614-4E7A-BB89-B0CFD32703C1}" type="presOf" srcId="{9AB23C9A-4EFF-46AA-8600-6121828B5B68}" destId="{07CF8D16-46B0-4D4D-99E2-A5F89E4966F9}" srcOrd="0" destOrd="0" presId="urn:microsoft.com/office/officeart/2005/8/layout/default"/>
    <dgm:cxn modelId="{6BA9CDA0-7132-49DD-933F-59CCDE45A79E}" type="presOf" srcId="{BA6D03A2-9B4A-4A4C-8DD9-368F90090499}" destId="{9AF48EF8-9BB4-4811-BECE-1723AD464226}" srcOrd="0" destOrd="0" presId="urn:microsoft.com/office/officeart/2005/8/layout/default"/>
    <dgm:cxn modelId="{AAEBF9D8-CD8A-49F7-A9AB-AC40574F60E6}" type="presOf" srcId="{3DAFE0AB-FD79-4AD6-B884-5D4D0BB664D5}" destId="{A31830E7-9C8F-4CC8-ACB7-970FB1E1CF27}" srcOrd="0" destOrd="0" presId="urn:microsoft.com/office/officeart/2005/8/layout/default"/>
    <dgm:cxn modelId="{A2EDE7DD-2243-4023-8058-5FF75D4EA564}" srcId="{9AB23C9A-4EFF-46AA-8600-6121828B5B68}" destId="{52372925-28B2-4182-8BAD-5B0D10F30331}" srcOrd="1" destOrd="0" parTransId="{5C500A57-0B11-4956-9964-6ED6DA527716}" sibTransId="{C1B4B822-5767-4674-AC1A-C83BD9A8C853}"/>
    <dgm:cxn modelId="{07FD01E4-043A-4A9A-8E64-8FD18B2AC478}" srcId="{9AB23C9A-4EFF-46AA-8600-6121828B5B68}" destId="{69C4D882-E6C4-4F19-8C88-FFA8B963B302}" srcOrd="2" destOrd="0" parTransId="{D99558A6-5A45-444D-9F92-CA752CD96AFD}" sibTransId="{F47C2DC8-D3B3-4527-8670-6339E4DBC9E1}"/>
    <dgm:cxn modelId="{7C73A5F0-59B9-471C-83C9-2B9DB30A0B13}" type="presOf" srcId="{CB78533D-865B-40BF-BB93-E28B5B8993CB}" destId="{02CFE41E-CC2F-4AB7-B365-5F8A82BE81E8}" srcOrd="0" destOrd="0" presId="urn:microsoft.com/office/officeart/2005/8/layout/default"/>
    <dgm:cxn modelId="{DF2AD4FF-340D-4163-9453-C67B4E682F68}" type="presOf" srcId="{52372925-28B2-4182-8BAD-5B0D10F30331}" destId="{815BB696-9420-4F69-AE9E-8E5A44FE284B}" srcOrd="0" destOrd="0" presId="urn:microsoft.com/office/officeart/2005/8/layout/default"/>
    <dgm:cxn modelId="{B5CA9368-1D22-4397-AD67-EE1DEE6B0C5A}" type="presParOf" srcId="{07CF8D16-46B0-4D4D-99E2-A5F89E4966F9}" destId="{02CFE41E-CC2F-4AB7-B365-5F8A82BE81E8}" srcOrd="0" destOrd="0" presId="urn:microsoft.com/office/officeart/2005/8/layout/default"/>
    <dgm:cxn modelId="{469A212B-1148-487E-8E35-9D63B20C3E35}" type="presParOf" srcId="{07CF8D16-46B0-4D4D-99E2-A5F89E4966F9}" destId="{94D871A3-2E80-4FC9-8C8E-4410454F2C52}" srcOrd="1" destOrd="0" presId="urn:microsoft.com/office/officeart/2005/8/layout/default"/>
    <dgm:cxn modelId="{CA1BFCB8-81E2-42C8-AE93-CFB3DDA4A210}" type="presParOf" srcId="{07CF8D16-46B0-4D4D-99E2-A5F89E4966F9}" destId="{815BB696-9420-4F69-AE9E-8E5A44FE284B}" srcOrd="2" destOrd="0" presId="urn:microsoft.com/office/officeart/2005/8/layout/default"/>
    <dgm:cxn modelId="{160A7FE8-7D29-4C11-8202-A909C34B8D36}" type="presParOf" srcId="{07CF8D16-46B0-4D4D-99E2-A5F89E4966F9}" destId="{4C80B27A-A03B-4904-BFE5-BEA9208EF773}" srcOrd="3" destOrd="0" presId="urn:microsoft.com/office/officeart/2005/8/layout/default"/>
    <dgm:cxn modelId="{0F6AC085-0548-4F62-986A-4D4AE17C4DC5}" type="presParOf" srcId="{07CF8D16-46B0-4D4D-99E2-A5F89E4966F9}" destId="{34F6E48E-1846-40A5-B568-734F5EABD864}" srcOrd="4" destOrd="0" presId="urn:microsoft.com/office/officeart/2005/8/layout/default"/>
    <dgm:cxn modelId="{655F78BC-4ABE-490E-87C2-40538F45D4E1}" type="presParOf" srcId="{07CF8D16-46B0-4D4D-99E2-A5F89E4966F9}" destId="{02D20D24-1AF4-454A-8EE8-4DE6C73D6D33}" srcOrd="5" destOrd="0" presId="urn:microsoft.com/office/officeart/2005/8/layout/default"/>
    <dgm:cxn modelId="{EE040575-FBE4-4829-A1B3-C3A712643299}" type="presParOf" srcId="{07CF8D16-46B0-4D4D-99E2-A5F89E4966F9}" destId="{A31830E7-9C8F-4CC8-ACB7-970FB1E1CF27}" srcOrd="6" destOrd="0" presId="urn:microsoft.com/office/officeart/2005/8/layout/default"/>
    <dgm:cxn modelId="{947FF650-D3AD-4AE1-A402-C20C26851CB7}" type="presParOf" srcId="{07CF8D16-46B0-4D4D-99E2-A5F89E4966F9}" destId="{90274C1D-367E-4095-9D1C-46AE42C13AB5}" srcOrd="7" destOrd="0" presId="urn:microsoft.com/office/officeart/2005/8/layout/default"/>
    <dgm:cxn modelId="{9BFAD603-B635-4DBF-93A6-D3E9D6DAA7B7}" type="presParOf" srcId="{07CF8D16-46B0-4D4D-99E2-A5F89E4966F9}" destId="{9AF48EF8-9BB4-4811-BECE-1723AD464226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BB7167-037D-4143-AFAD-B9FFCEB4AD2D}">
      <dsp:nvSpPr>
        <dsp:cNvPr id="0" name=""/>
        <dsp:cNvSpPr/>
      </dsp:nvSpPr>
      <dsp:spPr>
        <a:xfrm>
          <a:off x="4548" y="4998"/>
          <a:ext cx="3904373" cy="1039256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84912" rIns="184912" bIns="99060" numCol="1" spcCol="1270" anchor="t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solidFill>
                <a:schemeClr val="tx1"/>
              </a:solidFill>
              <a:latin typeface="DM Sans" pitchFamily="2" charset="77"/>
            </a:rPr>
            <a:t>Winter 2026</a:t>
          </a:r>
        </a:p>
      </dsp:txBody>
      <dsp:txXfrm>
        <a:off x="4548" y="4998"/>
        <a:ext cx="3904373" cy="692837"/>
      </dsp:txXfrm>
    </dsp:sp>
    <dsp:sp modelId="{EC6E0704-D7F3-40F2-9655-E7B91DB91D31}">
      <dsp:nvSpPr>
        <dsp:cNvPr id="0" name=""/>
        <dsp:cNvSpPr/>
      </dsp:nvSpPr>
      <dsp:spPr>
        <a:xfrm>
          <a:off x="804239" y="697835"/>
          <a:ext cx="3904373" cy="1713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latin typeface="DM Sans" pitchFamily="2" charset="77"/>
            </a:rPr>
            <a:t>Collaboration and consulting with:</a:t>
          </a:r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Neonatal Advisory</a:t>
          </a:r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Neonatal CAB </a:t>
          </a:r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Illinois Data Systems and Stakeholders</a:t>
          </a:r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Creation of Care of Late Preterm Planning Group </a:t>
          </a:r>
        </a:p>
      </dsp:txBody>
      <dsp:txXfrm>
        <a:off x="854429" y="748025"/>
        <a:ext cx="3803993" cy="1613220"/>
      </dsp:txXfrm>
    </dsp:sp>
    <dsp:sp modelId="{5F0208F9-C675-4C09-A872-116F75654DE2}">
      <dsp:nvSpPr>
        <dsp:cNvPr id="0" name=""/>
        <dsp:cNvSpPr/>
      </dsp:nvSpPr>
      <dsp:spPr>
        <a:xfrm rot="21597248">
          <a:off x="4493665" y="-137148"/>
          <a:ext cx="1239657" cy="97207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4493665" y="57384"/>
        <a:ext cx="948034" cy="583246"/>
      </dsp:txXfrm>
    </dsp:sp>
    <dsp:sp modelId="{E5FCCD08-7344-4321-A496-8C43FF65EF0A}">
      <dsp:nvSpPr>
        <dsp:cNvPr id="0" name=""/>
        <dsp:cNvSpPr/>
      </dsp:nvSpPr>
      <dsp:spPr>
        <a:xfrm>
          <a:off x="6247897" y="0"/>
          <a:ext cx="3904373" cy="1039256"/>
        </a:xfrm>
        <a:prstGeom prst="roundRect">
          <a:avLst>
            <a:gd name="adj" fmla="val 1000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84912" rIns="184912" bIns="99060" numCol="1" spcCol="1270" anchor="t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solidFill>
                <a:schemeClr val="bg1"/>
              </a:solidFill>
              <a:latin typeface="DM Sans" pitchFamily="2" charset="77"/>
            </a:rPr>
            <a:t>Spring 2026</a:t>
          </a:r>
        </a:p>
      </dsp:txBody>
      <dsp:txXfrm>
        <a:off x="6247897" y="0"/>
        <a:ext cx="3904373" cy="692837"/>
      </dsp:txXfrm>
    </dsp:sp>
    <dsp:sp modelId="{20DE9B5A-D566-42FC-B59B-E19A253DFF51}">
      <dsp:nvSpPr>
        <dsp:cNvPr id="0" name=""/>
        <dsp:cNvSpPr/>
      </dsp:nvSpPr>
      <dsp:spPr>
        <a:xfrm>
          <a:off x="7076168" y="697835"/>
          <a:ext cx="3904373" cy="1713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Building driver diagram 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Toolkit developmen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Key aim development</a:t>
          </a:r>
        </a:p>
      </dsp:txBody>
      <dsp:txXfrm>
        <a:off x="7126358" y="748025"/>
        <a:ext cx="3803993" cy="16132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BB7167-037D-4143-AFAD-B9FFCEB4AD2D}">
      <dsp:nvSpPr>
        <dsp:cNvPr id="0" name=""/>
        <dsp:cNvSpPr/>
      </dsp:nvSpPr>
      <dsp:spPr>
        <a:xfrm>
          <a:off x="4543" y="35855"/>
          <a:ext cx="3900005" cy="112320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84912" rIns="184912" bIns="99060" numCol="1" spcCol="1270" anchor="t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solidFill>
                <a:schemeClr val="bg1"/>
              </a:solidFill>
              <a:latin typeface="DM Sans" pitchFamily="2" charset="77"/>
            </a:rPr>
            <a:t>Summer 2026</a:t>
          </a:r>
        </a:p>
      </dsp:txBody>
      <dsp:txXfrm>
        <a:off x="4543" y="35855"/>
        <a:ext cx="3900005" cy="748800"/>
      </dsp:txXfrm>
    </dsp:sp>
    <dsp:sp modelId="{EC6E0704-D7F3-40F2-9655-E7B91DB91D31}">
      <dsp:nvSpPr>
        <dsp:cNvPr id="0" name=""/>
        <dsp:cNvSpPr/>
      </dsp:nvSpPr>
      <dsp:spPr>
        <a:xfrm>
          <a:off x="803339" y="784656"/>
          <a:ext cx="3900005" cy="1497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Data form development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Continued toolkit development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Recruitment of hospital teams for Wave 1</a:t>
          </a:r>
        </a:p>
      </dsp:txBody>
      <dsp:txXfrm>
        <a:off x="847202" y="828519"/>
        <a:ext cx="3812279" cy="1409874"/>
      </dsp:txXfrm>
    </dsp:sp>
    <dsp:sp modelId="{5F0208F9-C675-4C09-A872-116F75654DE2}">
      <dsp:nvSpPr>
        <dsp:cNvPr id="0" name=""/>
        <dsp:cNvSpPr/>
      </dsp:nvSpPr>
      <dsp:spPr>
        <a:xfrm>
          <a:off x="4495775" y="-75238"/>
          <a:ext cx="1253400" cy="9709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>
        <a:off x="4495775" y="118960"/>
        <a:ext cx="962104" cy="582592"/>
      </dsp:txXfrm>
    </dsp:sp>
    <dsp:sp modelId="{E5FCCD08-7344-4321-A496-8C43FF65EF0A}">
      <dsp:nvSpPr>
        <dsp:cNvPr id="0" name=""/>
        <dsp:cNvSpPr/>
      </dsp:nvSpPr>
      <dsp:spPr>
        <a:xfrm>
          <a:off x="6269455" y="35855"/>
          <a:ext cx="3900005" cy="1123200"/>
        </a:xfrm>
        <a:prstGeom prst="roundRect">
          <a:avLst>
            <a:gd name="adj" fmla="val 10000"/>
          </a:avLst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84912" rIns="184912" bIns="99060" numCol="1" spcCol="1270" anchor="t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>
              <a:solidFill>
                <a:schemeClr val="tx1"/>
              </a:solidFill>
              <a:latin typeface="DM Sans" pitchFamily="2" charset="77"/>
            </a:rPr>
            <a:t>Fall 2026</a:t>
          </a:r>
        </a:p>
      </dsp:txBody>
      <dsp:txXfrm>
        <a:off x="6269455" y="35855"/>
        <a:ext cx="3900005" cy="748800"/>
      </dsp:txXfrm>
    </dsp:sp>
    <dsp:sp modelId="{20DE9B5A-D566-42FC-B59B-E19A253DFF51}">
      <dsp:nvSpPr>
        <dsp:cNvPr id="0" name=""/>
        <dsp:cNvSpPr/>
      </dsp:nvSpPr>
      <dsp:spPr>
        <a:xfrm>
          <a:off x="7068251" y="784656"/>
          <a:ext cx="3900005" cy="1497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4464770"/>
              <a:satOff val="26899"/>
              <a:lumOff val="215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Wave 1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Initiative launch at Annual Conference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DM Sans" pitchFamily="2" charset="77"/>
            </a:rPr>
            <a:t>Data system planned to open January 2027</a:t>
          </a:r>
        </a:p>
      </dsp:txBody>
      <dsp:txXfrm>
        <a:off x="7112114" y="828519"/>
        <a:ext cx="3812279" cy="140987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CFE41E-CC2F-4AB7-B365-5F8A82BE81E8}">
      <dsp:nvSpPr>
        <dsp:cNvPr id="0" name=""/>
        <dsp:cNvSpPr/>
      </dsp:nvSpPr>
      <dsp:spPr>
        <a:xfrm>
          <a:off x="928729" y="644"/>
          <a:ext cx="2647305" cy="158838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>
              <a:latin typeface="Arial"/>
            </a:rPr>
            <a:t>Staff and Provider Education</a:t>
          </a:r>
          <a:endParaRPr lang="en-US" sz="3200" kern="1200"/>
        </a:p>
      </dsp:txBody>
      <dsp:txXfrm>
        <a:off x="928729" y="644"/>
        <a:ext cx="2647305" cy="1588383"/>
      </dsp:txXfrm>
    </dsp:sp>
    <dsp:sp modelId="{815BB696-9420-4F69-AE9E-8E5A44FE284B}">
      <dsp:nvSpPr>
        <dsp:cNvPr id="0" name=""/>
        <dsp:cNvSpPr/>
      </dsp:nvSpPr>
      <dsp:spPr>
        <a:xfrm>
          <a:off x="3840765" y="644"/>
          <a:ext cx="2647305" cy="1588383"/>
        </a:xfrm>
        <a:prstGeom prst="rect">
          <a:avLst/>
        </a:prstGeom>
        <a:solidFill>
          <a:schemeClr val="accent5">
            <a:hueOff val="-2283209"/>
            <a:satOff val="-13024"/>
            <a:lumOff val="-529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>
              <a:latin typeface="Arial"/>
            </a:rPr>
            <a:t>Standardized Clinical Care</a:t>
          </a:r>
        </a:p>
      </dsp:txBody>
      <dsp:txXfrm>
        <a:off x="3840765" y="644"/>
        <a:ext cx="2647305" cy="1588383"/>
      </dsp:txXfrm>
    </dsp:sp>
    <dsp:sp modelId="{34F6E48E-1846-40A5-B568-734F5EABD864}">
      <dsp:nvSpPr>
        <dsp:cNvPr id="0" name=""/>
        <dsp:cNvSpPr/>
      </dsp:nvSpPr>
      <dsp:spPr>
        <a:xfrm>
          <a:off x="928729" y="1853758"/>
          <a:ext cx="2647305" cy="1588383"/>
        </a:xfrm>
        <a:prstGeom prst="rect">
          <a:avLst/>
        </a:prstGeom>
        <a:solidFill>
          <a:schemeClr val="accent5">
            <a:hueOff val="-4566418"/>
            <a:satOff val="-26048"/>
            <a:lumOff val="-1058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>
              <a:latin typeface="Arial"/>
            </a:rPr>
            <a:t>Patient and Caregiver Education</a:t>
          </a:r>
        </a:p>
      </dsp:txBody>
      <dsp:txXfrm>
        <a:off x="928729" y="1853758"/>
        <a:ext cx="2647305" cy="1588383"/>
      </dsp:txXfrm>
    </dsp:sp>
    <dsp:sp modelId="{A31830E7-9C8F-4CC8-ACB7-970FB1E1CF27}">
      <dsp:nvSpPr>
        <dsp:cNvPr id="0" name=""/>
        <dsp:cNvSpPr/>
      </dsp:nvSpPr>
      <dsp:spPr>
        <a:xfrm>
          <a:off x="3840765" y="1853758"/>
          <a:ext cx="2647305" cy="1588383"/>
        </a:xfrm>
        <a:prstGeom prst="rect">
          <a:avLst/>
        </a:prstGeom>
        <a:solidFill>
          <a:schemeClr val="accent5">
            <a:hueOff val="-6849628"/>
            <a:satOff val="-39071"/>
            <a:lumOff val="-1588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>
              <a:latin typeface="Arial"/>
            </a:rPr>
            <a:t>Coordinated Discharge</a:t>
          </a:r>
          <a:endParaRPr lang="en-US" sz="3200" kern="1200"/>
        </a:p>
      </dsp:txBody>
      <dsp:txXfrm>
        <a:off x="3840765" y="1853758"/>
        <a:ext cx="2647305" cy="1588383"/>
      </dsp:txXfrm>
    </dsp:sp>
    <dsp:sp modelId="{9AF48EF8-9BB4-4811-BECE-1723AD464226}">
      <dsp:nvSpPr>
        <dsp:cNvPr id="0" name=""/>
        <dsp:cNvSpPr/>
      </dsp:nvSpPr>
      <dsp:spPr>
        <a:xfrm>
          <a:off x="2384747" y="3706872"/>
          <a:ext cx="2647305" cy="1588383"/>
        </a:xfrm>
        <a:prstGeom prst="rect">
          <a:avLst/>
        </a:prstGeom>
        <a:solidFill>
          <a:schemeClr val="accent5">
            <a:hueOff val="-9132837"/>
            <a:satOff val="-52095"/>
            <a:lumOff val="-211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>
              <a:latin typeface="Arial"/>
            </a:rPr>
            <a:t>Community Partnership</a:t>
          </a:r>
          <a:endParaRPr lang="en-US" sz="3200" kern="1200"/>
        </a:p>
      </dsp:txBody>
      <dsp:txXfrm>
        <a:off x="2384747" y="3706872"/>
        <a:ext cx="2647305" cy="15883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ADF022-A4E4-44B8-BA3E-941C5FD266C1}" type="datetimeFigureOut">
              <a:t>6/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0DA4D1-8813-4C61-B359-F8173C2DD381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512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85">
          <a:extLst>
            <a:ext uri="{FF2B5EF4-FFF2-40B4-BE49-F238E27FC236}">
              <a16:creationId xmlns:a16="http://schemas.microsoft.com/office/drawing/2014/main" id="{AD483376-358F-4196-C7A4-3169F43E8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86" name="Google Shape;16686;p276:notes">
            <a:extLst>
              <a:ext uri="{FF2B5EF4-FFF2-40B4-BE49-F238E27FC236}">
                <a16:creationId xmlns:a16="http://schemas.microsoft.com/office/drawing/2014/main" id="{4E0F7DF5-A42B-94A2-F7D0-22CCF12E76C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687" name="Google Shape;16687;p276:notes">
            <a:extLst>
              <a:ext uri="{FF2B5EF4-FFF2-40B4-BE49-F238E27FC236}">
                <a16:creationId xmlns:a16="http://schemas.microsoft.com/office/drawing/2014/main" id="{41651F32-8607-742E-042E-D923CE39129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34511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gc6f73a04f_0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188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" name="Google Shape;71;gc6f73a04f_0_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g6578076611b287a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188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7" name="Google Shape;77;g6578076611b287a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g6578076611b287a1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188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3" name="Google Shape;83;g6578076611b287a1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gc6f73a04f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188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9" name="Google Shape;89;gc6f73a04f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gc6f73a04f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188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" name="Google Shape;94;gc6f73a04f_0_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85">
          <a:extLst>
            <a:ext uri="{FF2B5EF4-FFF2-40B4-BE49-F238E27FC236}">
              <a16:creationId xmlns:a16="http://schemas.microsoft.com/office/drawing/2014/main" id="{249A212B-D2FC-4552-DBC9-62EE0E8AD2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86" name="Google Shape;16686;p276:notes">
            <a:extLst>
              <a:ext uri="{FF2B5EF4-FFF2-40B4-BE49-F238E27FC236}">
                <a16:creationId xmlns:a16="http://schemas.microsoft.com/office/drawing/2014/main" id="{FE3AF275-89B0-3A92-DB4F-98395B5A2CE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687" name="Google Shape;16687;p276:notes">
            <a:extLst>
              <a:ext uri="{FF2B5EF4-FFF2-40B4-BE49-F238E27FC236}">
                <a16:creationId xmlns:a16="http://schemas.microsoft.com/office/drawing/2014/main" id="{225CA5F6-2911-82D0-15A7-10F9368E509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13528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85">
          <a:extLst>
            <a:ext uri="{FF2B5EF4-FFF2-40B4-BE49-F238E27FC236}">
              <a16:creationId xmlns:a16="http://schemas.microsoft.com/office/drawing/2014/main" id="{3EC3E17C-8A79-69CF-034D-6A8CA230F3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86" name="Google Shape;16686;p276:notes">
            <a:extLst>
              <a:ext uri="{FF2B5EF4-FFF2-40B4-BE49-F238E27FC236}">
                <a16:creationId xmlns:a16="http://schemas.microsoft.com/office/drawing/2014/main" id="{A5E68FD0-382F-D82D-364A-18B44E7870D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687" name="Google Shape;16687;p276:notes">
            <a:extLst>
              <a:ext uri="{FF2B5EF4-FFF2-40B4-BE49-F238E27FC236}">
                <a16:creationId xmlns:a16="http://schemas.microsoft.com/office/drawing/2014/main" id="{C8BBFB34-4BF5-46A0-27AC-CCF98982D7D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647791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95F329-3889-8645-AA6B-3C2BA478A3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9090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95F329-3889-8645-AA6B-3C2BA478A3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14467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95F329-3889-8645-AA6B-3C2BA478A3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1176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83" name="Google Shape;14483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484" name="Google Shape;14484;p2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485" name="Google Shape;14485;p2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95F329-3889-8645-AA6B-3C2BA478A3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26471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95F329-3889-8645-AA6B-3C2BA478A3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121529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95F329-3889-8645-AA6B-3C2BA478A3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062988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95F329-3889-8645-AA6B-3C2BA478A3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12736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95F329-3889-8645-AA6B-3C2BA478A3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5241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73">
          <a:extLst>
            <a:ext uri="{FF2B5EF4-FFF2-40B4-BE49-F238E27FC236}">
              <a16:creationId xmlns:a16="http://schemas.microsoft.com/office/drawing/2014/main" id="{EE5A9C1E-8E66-9425-9760-E5C175734C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4" name="Google Shape;9274;g3c5b803b16c_1_12:notes">
            <a:extLst>
              <a:ext uri="{FF2B5EF4-FFF2-40B4-BE49-F238E27FC236}">
                <a16:creationId xmlns:a16="http://schemas.microsoft.com/office/drawing/2014/main" id="{89F24D43-E093-524E-8713-B7C22C2126D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75" name="Google Shape;9275;g3c5b803b16c_1_12:notes">
            <a:extLst>
              <a:ext uri="{FF2B5EF4-FFF2-40B4-BE49-F238E27FC236}">
                <a16:creationId xmlns:a16="http://schemas.microsoft.com/office/drawing/2014/main" id="{05A0ADEE-7DF8-9B55-6178-B3692A339E5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276" name="Google Shape;9276;g3c5b803b16c_1_12:notes">
            <a:extLst>
              <a:ext uri="{FF2B5EF4-FFF2-40B4-BE49-F238E27FC236}">
                <a16:creationId xmlns:a16="http://schemas.microsoft.com/office/drawing/2014/main" id="{823DA142-99C8-0E05-A518-A962611F4EE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34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92123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8238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" name="Google Shape;13721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722" name="Google Shape;13722;p2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723" name="Google Shape;13723;p2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12" name="Google Shape;13712;g3d640007778_0_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713" name="Google Shape;13713;g3d640007778_0_4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A slide, </a:t>
            </a:r>
            <a:endParaRPr/>
          </a:p>
        </p:txBody>
      </p:sp>
      <p:sp>
        <p:nvSpPr>
          <p:cNvPr id="13714" name="Google Shape;13714;g3d640007778_0_4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0" name="Google Shape;13720;g3d07fb6f662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721" name="Google Shape;13721;g3d07fb6f662_0_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722" name="Google Shape;13722;g3d07fb6f662_0_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82">
          <a:extLst>
            <a:ext uri="{FF2B5EF4-FFF2-40B4-BE49-F238E27FC236}">
              <a16:creationId xmlns:a16="http://schemas.microsoft.com/office/drawing/2014/main" id="{28D0F84F-064E-AA28-B5B6-A69AE97CEC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83" name="Google Shape;14483;p27:notes">
            <a:extLst>
              <a:ext uri="{FF2B5EF4-FFF2-40B4-BE49-F238E27FC236}">
                <a16:creationId xmlns:a16="http://schemas.microsoft.com/office/drawing/2014/main" id="{BBD3B278-642E-6392-F924-27DA0F41FC6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484" name="Google Shape;14484;p27:notes">
            <a:extLst>
              <a:ext uri="{FF2B5EF4-FFF2-40B4-BE49-F238E27FC236}">
                <a16:creationId xmlns:a16="http://schemas.microsoft.com/office/drawing/2014/main" id="{039ED69E-2092-8EB4-833E-7B3EDC35C01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485" name="Google Shape;14485;p27:notes">
            <a:extLst>
              <a:ext uri="{FF2B5EF4-FFF2-40B4-BE49-F238E27FC236}">
                <a16:creationId xmlns:a16="http://schemas.microsoft.com/office/drawing/2014/main" id="{0155B9CF-C512-A307-9C22-A34C27BAF42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67514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85">
          <a:extLst>
            <a:ext uri="{FF2B5EF4-FFF2-40B4-BE49-F238E27FC236}">
              <a16:creationId xmlns:a16="http://schemas.microsoft.com/office/drawing/2014/main" id="{78FF856D-1C08-A2C6-2DC8-F9C206D997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86" name="Google Shape;16686;p276:notes">
            <a:extLst>
              <a:ext uri="{FF2B5EF4-FFF2-40B4-BE49-F238E27FC236}">
                <a16:creationId xmlns:a16="http://schemas.microsoft.com/office/drawing/2014/main" id="{48247352-28E8-4762-1029-32606F68B1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687" name="Google Shape;16687;p276:notes">
            <a:extLst>
              <a:ext uri="{FF2B5EF4-FFF2-40B4-BE49-F238E27FC236}">
                <a16:creationId xmlns:a16="http://schemas.microsoft.com/office/drawing/2014/main" id="{6E64AF8F-EE71-4FA1-F7A0-659A82DE917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7971144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c6f73a04f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188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c6f73a04f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3.jpe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.bin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10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/Relationships>
</file>

<file path=ppt/slideLayouts/_rels/slideLayout10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4.xml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4.xml"/></Relationships>
</file>

<file path=ppt/slideLayouts/_rels/slideLayout10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10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0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Master" Target="../slideMasters/slideMaster5.xml"/></Relationships>
</file>

<file path=ppt/slideLayouts/_rels/slideLayout10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0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0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0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0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0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0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0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0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0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5.jpeg"/><Relationship Id="rId1" Type="http://schemas.openxmlformats.org/officeDocument/2006/relationships/slideMaster" Target="../slideMasters/slideMaster8.xml"/></Relationships>
</file>

<file path=ppt/slideLayouts/_rels/slideLayout1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6.jpeg"/><Relationship Id="rId1" Type="http://schemas.openxmlformats.org/officeDocument/2006/relationships/slideMaster" Target="../slideMasters/slideMaster8.xml"/></Relationships>
</file>

<file path=ppt/slideLayouts/_rels/slideLayout1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7.jpeg"/><Relationship Id="rId1" Type="http://schemas.openxmlformats.org/officeDocument/2006/relationships/slideMaster" Target="../slideMasters/slideMaster8.xml"/></Relationships>
</file>

<file path=ppt/slideLayouts/_rels/slideLayout1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8.jpeg"/><Relationship Id="rId1" Type="http://schemas.openxmlformats.org/officeDocument/2006/relationships/slideMaster" Target="../slideMasters/slideMaster8.xml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9.jpeg"/><Relationship Id="rId1" Type="http://schemas.openxmlformats.org/officeDocument/2006/relationships/slideMaster" Target="../slideMasters/slideMaster8.xml"/></Relationships>
</file>

<file path=ppt/slideLayouts/_rels/slideLayout1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10.jpeg"/><Relationship Id="rId1" Type="http://schemas.openxmlformats.org/officeDocument/2006/relationships/slideMaster" Target="../slideMasters/slideMaster8.xml"/></Relationships>
</file>

<file path=ppt/slideLayouts/_rels/slideLayout1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11.jpeg"/><Relationship Id="rId1" Type="http://schemas.openxmlformats.org/officeDocument/2006/relationships/slideMaster" Target="../slideMasters/slideMaster8.xml"/></Relationships>
</file>

<file path=ppt/slideLayouts/_rels/slideLayout1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12.jpeg"/><Relationship Id="rId1" Type="http://schemas.openxmlformats.org/officeDocument/2006/relationships/slideMaster" Target="../slideMasters/slideMaster8.xml"/></Relationships>
</file>

<file path=ppt/slideLayouts/_rels/slideLayout1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Master" Target="../slideMasters/slideMaster8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Master" Target="../slideMasters/slideMaster8.xml"/></Relationships>
</file>

<file path=ppt/slideLayouts/_rels/slideLayout1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emf"/><Relationship Id="rId1" Type="http://schemas.openxmlformats.org/officeDocument/2006/relationships/slideMaster" Target="../slideMasters/slideMaster8.xml"/></Relationships>
</file>

<file path=ppt/slideLayouts/_rels/slideLayout1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Master" Target="../slideMasters/slideMaster8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0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.bin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4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4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4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4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4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4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4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4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6" Type="http://schemas.openxmlformats.org/officeDocument/2006/relationships/image" Target="../media/image67.emf"/><Relationship Id="rId5" Type="http://schemas.openxmlformats.org/officeDocument/2006/relationships/image" Target="../media/image66.emf"/><Relationship Id="rId4" Type="http://schemas.openxmlformats.org/officeDocument/2006/relationships/image" Target="../media/image49.emf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.bin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4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4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6" Type="http://schemas.openxmlformats.org/officeDocument/2006/relationships/image" Target="../media/image67.emf"/><Relationship Id="rId5" Type="http://schemas.openxmlformats.org/officeDocument/2006/relationships/image" Target="../media/image66.emf"/><Relationship Id="rId4" Type="http://schemas.openxmlformats.org/officeDocument/2006/relationships/image" Target="../media/image49.emf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.bin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4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4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4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4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4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4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4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4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7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4.xml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4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4.xml"/></Relationships>
</file>

<file path=ppt/slideLayouts/_rels/slideLayout7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4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4.xml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4.xml"/></Relationships>
</file>

<file path=ppt/slideLayouts/_rels/slideLayout7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4.xml"/></Relationships>
</file>

<file path=ppt/slideLayouts/_rels/slideLayout7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4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4.xml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6" Type="http://schemas.openxmlformats.org/officeDocument/2006/relationships/image" Target="../media/image67.emf"/><Relationship Id="rId5" Type="http://schemas.openxmlformats.org/officeDocument/2006/relationships/image" Target="../media/image66.emf"/><Relationship Id="rId4" Type="http://schemas.openxmlformats.org/officeDocument/2006/relationships/image" Target="../media/image49.emf"/></Relationships>
</file>

<file path=ppt/slideLayouts/_rels/slideLayout7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1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.bin"/></Relationships>
</file>

<file path=ppt/slideLayouts/_rels/slideLayout7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0.jpe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.bin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0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.bin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/Relationships>
</file>

<file path=ppt/slideLayouts/_rels/slideLayout7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4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4.xml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4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4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4.xml"/></Relationships>
</file>

<file path=ppt/slideLayouts/_rels/slideLayout7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4.xml"/></Relationships>
</file>

<file path=ppt/slideLayouts/_rels/slideLayout7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4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4.xml"/></Relationships>
</file>

<file path=ppt/slideLayouts/_rels/slideLayout7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4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4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94.png"/><Relationship Id="rId1" Type="http://schemas.openxmlformats.org/officeDocument/2006/relationships/slideMaster" Target="../slideMasters/slideMaster4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6" Type="http://schemas.openxmlformats.org/officeDocument/2006/relationships/image" Target="../media/image67.emf"/><Relationship Id="rId5" Type="http://schemas.openxmlformats.org/officeDocument/2006/relationships/image" Target="../media/image66.emf"/><Relationship Id="rId4" Type="http://schemas.openxmlformats.org/officeDocument/2006/relationships/image" Target="../media/image49.emf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1.jpe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.bin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4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4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4.xml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/Relationships>
</file>

<file path=ppt/slideLayouts/_rels/slideLayout7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4.xml"/></Relationships>
</file>

<file path=ppt/slideLayouts/_rels/slideLayout8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4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Master" Target="../slideMasters/slideMaster4.xml"/></Relationships>
</file>

<file path=ppt/slideLayouts/_rels/slideLayout8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8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8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8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9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9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9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9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9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9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9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9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9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9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9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9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9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9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9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9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9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9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9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9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9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9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9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9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9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9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9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5" name="Google Shape;9905;p13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6" name="Google Shape;9906;p13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907" name="Google Shape;9907;p13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08" name="Google Shape;9908;p13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09" name="Google Shape;9909;p13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10" name="Google Shape;9910;p13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11" name="Google Shape;9911;p13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912" name="Google Shape;9912;p139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13" name="Google Shape;9913;p139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14" name="Google Shape;9914;p13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15" name="Google Shape;9915;p13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8825717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46846037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396240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424539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94018060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7741681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55818090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187700"/>
      </p:ext>
    </p:extLst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733890"/>
      </p:ext>
    </p:extLst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5019055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9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17" name="Google Shape;9917;p14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18" name="Google Shape;9918;p1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19" name="Google Shape;9919;p14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20" name="Google Shape;9920;p1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21" name="Google Shape;9921;p1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922" name="Google Shape;9922;p14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23" name="Google Shape;9923;p140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24" name="Google Shape;9924;p140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25" name="Google Shape;9925;p140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26" name="Google Shape;9926;p140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27" name="Google Shape;9927;p1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28" name="Google Shape;9928;p1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29" name="Google Shape;9929;p1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9256970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17638659"/>
      </p:ext>
    </p:extLst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5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6" y="224842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6" y="917199"/>
            <a:ext cx="11715725" cy="4958671"/>
          </a:xfrm>
          <a:prstGeom prst="rect">
            <a:avLst/>
          </a:prstGeom>
        </p:spPr>
        <p:txBody>
          <a:bodyPr/>
          <a:lstStyle>
            <a:lvl1pPr marL="381028" indent="-381028">
              <a:buFont typeface="Wingdings" panose="05000000000000000000" pitchFamily="2" charset="2"/>
              <a:buChar char="§"/>
              <a:defRPr sz="1867" b="1"/>
            </a:lvl1pPr>
            <a:lvl2pPr marL="609646" indent="-296356">
              <a:buFont typeface="Arial" panose="020B0604020202020204" pitchFamily="34" charset="0"/>
              <a:buChar char="̶"/>
              <a:defRPr sz="1867"/>
            </a:lvl2pPr>
            <a:lvl3pPr marL="922936" indent="-313291">
              <a:buFont typeface="Arial" panose="020B0604020202020204" pitchFamily="34" charset="0"/>
              <a:buChar char="•"/>
              <a:defRPr sz="1867"/>
            </a:lvl3pPr>
            <a:lvl4pPr marL="1219292" indent="-296356">
              <a:buFont typeface="Wingdings" panose="05000000000000000000" pitchFamily="2" charset="2"/>
              <a:buChar char="ü"/>
              <a:defRPr sz="1867"/>
            </a:lvl4pPr>
            <a:lvl5pPr marL="1532582" indent="-313291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9" y="5969003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3" y="5969002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8437078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46" lvl="0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92" lvl="1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738" lvl="2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983" lvl="3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228" lvl="4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475" lvl="5" indent="-342934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720" lvl="6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966" lvl="7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212" lvl="8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3267584"/>
      </p:ext>
    </p:extLst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70581856"/>
      </p:ext>
    </p:extLst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855447"/>
      </p:ext>
    </p:extLst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6971609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0545107"/>
      </p:ext>
    </p:extLst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434678"/>
      </p:ext>
    </p:extLst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05659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99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1" name="Google Shape;9931;p14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32" name="Google Shape;9932;p14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33" name="Google Shape;9933;p14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34" name="Google Shape;9934;p14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35" name="Google Shape;9935;p14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36" name="Google Shape;9936;p14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37" name="Google Shape;9937;p14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8" name="Google Shape;9938;p14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39" name="Google Shape;9939;p14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40" name="Google Shape;9940;p14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41" name="Google Shape;9941;p14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42" name="Google Shape;9942;p14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970634"/>
      </p:ext>
    </p:extLst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59328757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1701877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673670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72895542"/>
      </p:ext>
    </p:extLst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98241737"/>
      </p:ext>
    </p:extLst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80185318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1/202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93203507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1/2026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8576859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2">
    <p:spTree>
      <p:nvGrpSpPr>
        <p:cNvPr id="1" name="Shape 99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4" name="Google Shape;9944;p14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45" name="Google Shape;9945;p14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46" name="Google Shape;9946;p14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47" name="Google Shape;9947;p14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48" name="Google Shape;9948;p14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49" name="Google Shape;9949;p14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50" name="Google Shape;9950;p14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51" name="Google Shape;9951;p14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52" name="Google Shape;9952;p14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53" name="Google Shape;9953;p14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54" name="Google Shape;9954;p14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55" name="Google Shape;9955;p14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3409391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798206"/>
      </p:ext>
    </p:extLst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2990995"/>
      </p:ext>
    </p:extLst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3707461"/>
      </p:ext>
    </p:extLst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7552576"/>
      </p:ext>
    </p:extLst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355230"/>
      </p:ext>
    </p:extLst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00287"/>
      </p:ext>
    </p:extLst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6989469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99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57" name="Google Shape;9957;p140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958" name="Google Shape;9958;p140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59" name="Google Shape;9959;p140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960" name="Google Shape;9960;p140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61" name="Google Shape;9961;p140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62" name="Google Shape;9962;p140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63" name="Google Shape;9963;p14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964" name="Google Shape;9964;p14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562560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58454080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21103279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31591484"/>
      </p:ext>
    </p:extLst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610562"/>
      </p:ext>
    </p:extLst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9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2" name="Google Shape;9462;p42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9463" name="Google Shape;9463;p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9464" name="Google Shape;9464;p42"/>
          <p:cNvGrpSpPr/>
          <p:nvPr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9465" name="Google Shape;9465;p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76923C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66" name="Google Shape;9466;p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467" name="Google Shape;9467;p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276999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pic>
        <p:nvPicPr>
          <p:cNvPr id="9468" name="Google Shape;9468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0" name="Google Shape;9470;p43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1" name="Google Shape;9471;p43"/>
          <p:cNvSpPr txBox="1">
            <a:spLocks noGrp="1"/>
          </p:cNvSpPr>
          <p:nvPr>
            <p:ph type="body" idx="1"/>
          </p:nvPr>
        </p:nvSpPr>
        <p:spPr>
          <a:xfrm>
            <a:off x="1180846" y="1033017"/>
            <a:ext cx="9452610" cy="1463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2" name="Google Shape;9472;p43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3" name="Google Shape;9473;p4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4" name="Google Shape;9474;p43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9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6" name="Google Shape;9476;p44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7" name="Google Shape;9477;p44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8" name="Google Shape;9478;p44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dk2"/>
        </a:solidFill>
        <a:effectLst/>
      </p:bgPr>
    </p:bg>
    <p:spTree>
      <p:nvGrpSpPr>
        <p:cNvPr id="1" name="Shape 9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80" name="Google Shape;9480;p4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481" name="Google Shape;9481;p4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82" name="Google Shape;9482;p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76923C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83" name="Google Shape;9483;p4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484" name="Google Shape;9484;p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485" name="Google Shape;9485;p4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86" name="Google Shape;9486;p4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99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66" name="Google Shape;9966;p14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67" name="Google Shape;9967;p14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68" name="Google Shape;9968;p14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69" name="Google Shape;9969;p14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70" name="Google Shape;9970;p14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971" name="Google Shape;9971;p14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72" name="Google Shape;9972;p14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73" name="Google Shape;9973;p14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74" name="Google Shape;9974;p14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9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88" name="Google Shape;9488;p67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89" name="Google Shape;9489;p67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0" name="Google Shape;9490;p67"/>
          <p:cNvSpPr txBox="1">
            <a:spLocks noGrp="1"/>
          </p:cNvSpPr>
          <p:nvPr>
            <p:ph type="body" idx="2"/>
          </p:nvPr>
        </p:nvSpPr>
        <p:spPr>
          <a:xfrm>
            <a:off x="6868159" y="1152207"/>
            <a:ext cx="4359909" cy="4176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50" b="1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1" name="Google Shape;9491;p67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2" name="Google Shape;9492;p67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3" name="Google Shape;9493;p67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9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5" name="Google Shape;9495;p68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6" name="Google Shape;9496;p68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7" name="Google Shape;9497;p68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8" name="Google Shape;9498;p68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BLANK">
    <p:spTree>
      <p:nvGrpSpPr>
        <p:cNvPr id="1" name="Shape 9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0" name="Google Shape;9500;p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01" name="Google Shape;9501;p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F4F3E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502" name="Google Shape;9502;p69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03" name="Google Shape;9503;p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04" name="Google Shape;9504;p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05" name="Google Shape;9505;p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06" name="Google Shape;9506;p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76923C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07" name="Google Shape;9507;p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3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36" name="Google Shape;13236;p51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237" name="Google Shape;13237;p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238" name="Google Shape;13238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39" name="Google Shape;13239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240" name="Google Shape;13240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3241" name="Google Shape;13241;p51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42" name="Google Shape;13242;p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43" name="Google Shape;13243;p51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44" name="Google Shape;13244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3245" name="Google Shape;13245;p51"/>
          <p:cNvCxnSpPr/>
          <p:nvPr/>
        </p:nvCxnSpPr>
        <p:spPr>
          <a:xfrm>
            <a:off x="704315" y="1425993"/>
            <a:ext cx="109728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46" name="Google Shape;13246;p51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48" name="Google Shape;13248;p56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49" name="Google Shape;13249;p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50" name="Google Shape;13250;p56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251" name="Google Shape;13251;p5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252" name="Google Shape;13252;p5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253" name="Google Shape;13253;p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54" name="Google Shape;13254;p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255" name="Google Shape;13255;p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13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57" name="Google Shape;13257;p52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258" name="Google Shape;13258;p5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259" name="Google Shape;13259;p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60" name="Google Shape;13260;p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261" name="Google Shape;13261;p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3262" name="Google Shape;13262;p52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3" name="Google Shape;13263;p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64" name="Google Shape;13264;p52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65" name="Google Shape;13265;p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3266" name="Google Shape;13266;p52"/>
          <p:cNvCxnSpPr/>
          <p:nvPr/>
        </p:nvCxnSpPr>
        <p:spPr>
          <a:xfrm>
            <a:off x="704315" y="1425993"/>
            <a:ext cx="109728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67" name="Google Shape;13267;p52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13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69" name="Google Shape;13269;p55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750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31126"/>
              </a:buClr>
              <a:buSzPts val="2100"/>
              <a:buFont typeface="Arial"/>
              <a:buNone/>
              <a:defRPr sz="2100">
                <a:solidFill>
                  <a:srgbClr val="B3112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70" name="Google Shape;13270;p55"/>
          <p:cNvSpPr txBox="1">
            <a:spLocks noGrp="1"/>
          </p:cNvSpPr>
          <p:nvPr>
            <p:ph type="sldNum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71" name="Google Shape;13271;p55"/>
          <p:cNvSpPr txBox="1">
            <a:spLocks noGrp="1"/>
          </p:cNvSpPr>
          <p:nvPr>
            <p:ph type="body" idx="1"/>
          </p:nvPr>
        </p:nvSpPr>
        <p:spPr>
          <a:xfrm>
            <a:off x="609600" y="1168400"/>
            <a:ext cx="11108267" cy="46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101B42"/>
                </a:solidFill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101B42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101B42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3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73" name="Google Shape;13273;p92"/>
          <p:cNvSpPr/>
          <p:nvPr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274" name="Google Shape;13274;p92"/>
          <p:cNvSpPr txBox="1"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75" name="Google Shape;13275;p92"/>
          <p:cNvSpPr txBox="1"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3276" name="Google Shape;13276;p92"/>
          <p:cNvCxnSpPr/>
          <p:nvPr/>
        </p:nvCxnSpPr>
        <p:spPr>
          <a:xfrm>
            <a:off x="1520055" y="3507988"/>
            <a:ext cx="22860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77" name="Google Shape;13277;p92"/>
          <p:cNvSpPr>
            <a:spLocks noGrp="1"/>
          </p:cNvSpPr>
          <p:nvPr>
            <p:ph type="pic" idx="2"/>
          </p:nvPr>
        </p:nvSpPr>
        <p:spPr>
          <a:xfrm>
            <a:off x="7118685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278" name="Google Shape;13278;p92"/>
          <p:cNvGrpSpPr/>
          <p:nvPr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13279" name="Google Shape;13279;p9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80" name="Google Shape;13280;p9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281" name="Google Shape;13281;p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13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83" name="Google Shape;13283;p93"/>
          <p:cNvGrpSpPr/>
          <p:nvPr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13284" name="Google Shape;13284;p9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85" name="Google Shape;13285;p9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86" name="Google Shape;13286;p9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287" name="Google Shape;13287;p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288" name="Google Shape;13288;p93"/>
          <p:cNvSpPr txBox="1"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89" name="Google Shape;13289;p93"/>
          <p:cNvSpPr txBox="1"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3290" name="Google Shape;13290;p93"/>
          <p:cNvCxnSpPr/>
          <p:nvPr/>
        </p:nvCxnSpPr>
        <p:spPr>
          <a:xfrm>
            <a:off x="1520055" y="2811818"/>
            <a:ext cx="22860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3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92" name="Google Shape;13292;p94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293" name="Google Shape;13293;p9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294" name="Google Shape;13294;p94"/>
          <p:cNvGrpSpPr/>
          <p:nvPr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13295" name="Google Shape;13295;p9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96" name="Google Shape;13296;p9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297" name="Google Shape;13297;p9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298" name="Google Shape;13298;p9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99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76" name="Google Shape;9976;p14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977" name="Google Shape;9977;p14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78" name="Google Shape;9978;p14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979" name="Google Shape;9979;p14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80" name="Google Shape;9980;p14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81" name="Google Shape;9981;p14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82" name="Google Shape;9982;p14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983" name="Google Shape;9983;p14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3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00" name="Google Shape;13300;p95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01" name="Google Shape;13301;p9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02" name="Google Shape;13302;p95"/>
          <p:cNvSpPr txBox="1">
            <a:spLocks noGrp="1"/>
          </p:cNvSpPr>
          <p:nvPr>
            <p:ph type="body" idx="1"/>
          </p:nvPr>
        </p:nvSpPr>
        <p:spPr>
          <a:xfrm>
            <a:off x="1427357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03" name="Google Shape;13303;p95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304" name="Google Shape;13304;p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05" name="Google Shape;13305;p95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306" name="Google Shape;13306;p9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307" name="Google Shape;13307;p9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08" name="Google Shape;13308;p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09" name="Google Shape;13309;p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10" name="Google Shape;13310;p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3311" name="Google Shape;13311;p9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3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3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Google Shape;13313;p96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14" name="Google Shape;13314;p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315" name="Google Shape;13315;p9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316" name="Google Shape;13316;p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17" name="Google Shape;13317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18" name="Google Shape;13318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19" name="Google Shape;13319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3320" name="Google Shape;13320;p96"/>
          <p:cNvSpPr txBox="1">
            <a:spLocks noGrp="1"/>
          </p:cNvSpPr>
          <p:nvPr>
            <p:ph type="body" idx="2"/>
          </p:nvPr>
        </p:nvSpPr>
        <p:spPr>
          <a:xfrm>
            <a:off x="6172201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21" name="Google Shape;13321;p96"/>
          <p:cNvSpPr txBox="1">
            <a:spLocks noGrp="1"/>
          </p:cNvSpPr>
          <p:nvPr>
            <p:ph type="sldNum" idx="12"/>
          </p:nvPr>
        </p:nvSpPr>
        <p:spPr>
          <a:xfrm>
            <a:off x="8839199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322" name="Google Shape;13322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3323" name="Google Shape;13323;p96"/>
          <p:cNvCxnSpPr/>
          <p:nvPr/>
        </p:nvCxnSpPr>
        <p:spPr>
          <a:xfrm>
            <a:off x="704315" y="1425993"/>
            <a:ext cx="109728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24" name="Google Shape;13324;p96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3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26" name="Google Shape;13326;p9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327" name="Google Shape;13327;p9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28" name="Google Shape;13328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29" name="Google Shape;13329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30" name="Google Shape;13330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3331" name="Google Shape;13331;p97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32" name="Google Shape;13332;p97"/>
          <p:cNvSpPr txBox="1"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333" name="Google Shape;13333;p97"/>
          <p:cNvSpPr txBox="1">
            <a:spLocks noGrp="1"/>
          </p:cNvSpPr>
          <p:nvPr>
            <p:ph type="body" idx="2"/>
          </p:nvPr>
        </p:nvSpPr>
        <p:spPr>
          <a:xfrm>
            <a:off x="609602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34" name="Google Shape;13334;p9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335" name="Google Shape;13335;p9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36" name="Google Shape;13336;p97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337" name="Google Shape;13337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38" name="Google Shape;13338;p97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3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40" name="Google Shape;13340;p9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341" name="Google Shape;13341;p9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42" name="Google Shape;13342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43" name="Google Shape;13343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44" name="Google Shape;13344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3345" name="Google Shape;13345;p98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46" name="Google Shape;13346;p98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347" name="Google Shape;13347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3348" name="Google Shape;13348;p98"/>
          <p:cNvCxnSpPr/>
          <p:nvPr/>
        </p:nvCxnSpPr>
        <p:spPr>
          <a:xfrm>
            <a:off x="707293" y="1425993"/>
            <a:ext cx="109728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49" name="Google Shape;13349;p98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13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51" name="Google Shape;13351;p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352" name="Google Shape;13352;p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53" name="Google Shape;13353;p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354" name="Google Shape;13354;p99"/>
          <p:cNvSpPr/>
          <p:nvPr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355" name="Google Shape;13355;p99"/>
          <p:cNvCxnSpPr/>
          <p:nvPr/>
        </p:nvCxnSpPr>
        <p:spPr>
          <a:xfrm>
            <a:off x="1325947" y="3080084"/>
            <a:ext cx="685399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56" name="Google Shape;13356;p99"/>
          <p:cNvSpPr txBox="1">
            <a:spLocks noGrp="1"/>
          </p:cNvSpPr>
          <p:nvPr>
            <p:ph type="body" idx="1"/>
          </p:nvPr>
        </p:nvSpPr>
        <p:spPr>
          <a:xfrm>
            <a:off x="1219202" y="3429002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57" name="Google Shape;13357;p99"/>
          <p:cNvSpPr txBox="1">
            <a:spLocks noGrp="1"/>
          </p:cNvSpPr>
          <p:nvPr>
            <p:ph type="ctrTitle"/>
          </p:nvPr>
        </p:nvSpPr>
        <p:spPr>
          <a:xfrm>
            <a:off x="1219201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358" name="Google Shape;13358;p9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359" name="Google Shape;13359;p99"/>
          <p:cNvSpPr>
            <a:spLocks noGrp="1"/>
          </p:cNvSpPr>
          <p:nvPr>
            <p:ph type="pic" idx="2"/>
          </p:nvPr>
        </p:nvSpPr>
        <p:spPr>
          <a:xfrm>
            <a:off x="7118685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13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61" name="Google Shape;13361;p100"/>
          <p:cNvSpPr txBox="1"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62" name="Google Shape;13362;p100"/>
          <p:cNvSpPr txBox="1">
            <a:spLocks noGrp="1"/>
          </p:cNvSpPr>
          <p:nvPr>
            <p:ph type="subTitle" idx="1"/>
          </p:nvPr>
        </p:nvSpPr>
        <p:spPr>
          <a:xfrm>
            <a:off x="513349" y="5400327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3363" name="Google Shape;13363;p100"/>
          <p:cNvCxnSpPr/>
          <p:nvPr/>
        </p:nvCxnSpPr>
        <p:spPr>
          <a:xfrm>
            <a:off x="620093" y="5141451"/>
            <a:ext cx="22860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364" name="Google Shape;13364;p100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3365" name="Google Shape;13365;p100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66" name="Google Shape;13366;p100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3367" name="Google Shape;13367;p10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136525"/>
            <a:ext cx="1945207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3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69" name="Google Shape;13369;p101"/>
          <p:cNvSpPr/>
          <p:nvPr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70" name="Google Shape;13370;p101"/>
          <p:cNvSpPr txBox="1"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71" name="Google Shape;13371;p101"/>
          <p:cNvSpPr txBox="1"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3372" name="Google Shape;13372;p101"/>
          <p:cNvCxnSpPr/>
          <p:nvPr/>
        </p:nvCxnSpPr>
        <p:spPr>
          <a:xfrm>
            <a:off x="1520055" y="3507988"/>
            <a:ext cx="22860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73" name="Google Shape;13373;p101"/>
          <p:cNvSpPr>
            <a:spLocks noGrp="1"/>
          </p:cNvSpPr>
          <p:nvPr>
            <p:ph type="pic" idx="2"/>
          </p:nvPr>
        </p:nvSpPr>
        <p:spPr>
          <a:xfrm>
            <a:off x="7118685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374" name="Google Shape;13374;p101"/>
          <p:cNvGrpSpPr/>
          <p:nvPr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13375" name="Google Shape;13375;p1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76" name="Google Shape;13376;p10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377" name="Google Shape;13377;p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13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79" name="Google Shape;13379;p102"/>
          <p:cNvGrpSpPr/>
          <p:nvPr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13380" name="Google Shape;13380;p10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81" name="Google Shape;13381;p10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82" name="Google Shape;13382;p10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383" name="Google Shape;13383;p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384" name="Google Shape;13384;p102"/>
          <p:cNvSpPr txBox="1"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85" name="Google Shape;13385;p102"/>
          <p:cNvSpPr txBox="1"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3386" name="Google Shape;13386;p102"/>
          <p:cNvCxnSpPr/>
          <p:nvPr/>
        </p:nvCxnSpPr>
        <p:spPr>
          <a:xfrm>
            <a:off x="1520055" y="2811818"/>
            <a:ext cx="22860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13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88" name="Google Shape;13388;p103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389" name="Google Shape;13389;p10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390" name="Google Shape;13390;p103"/>
          <p:cNvGrpSpPr/>
          <p:nvPr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13391" name="Google Shape;13391;p10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92" name="Google Shape;13392;p10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393" name="Google Shape;13393;p10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394" name="Google Shape;13394;p1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13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96" name="Google Shape;13396;p104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97" name="Google Shape;13397;p10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98" name="Google Shape;13398;p104"/>
          <p:cNvSpPr txBox="1">
            <a:spLocks noGrp="1"/>
          </p:cNvSpPr>
          <p:nvPr>
            <p:ph type="body" idx="1"/>
          </p:nvPr>
        </p:nvSpPr>
        <p:spPr>
          <a:xfrm>
            <a:off x="1427357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99" name="Google Shape;13399;p104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00" name="Google Shape;13400;p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01" name="Google Shape;13401;p104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402" name="Google Shape;13402;p10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403" name="Google Shape;13403;p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04" name="Google Shape;13404;p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05" name="Google Shape;13405;p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406" name="Google Shape;13406;p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3407" name="Google Shape;13407;p10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3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9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5" name="Google Shape;9985;p14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86" name="Google Shape;9986;p14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87" name="Google Shape;9987;p14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88" name="Google Shape;9988;p14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89" name="Google Shape;9989;p14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90" name="Google Shape;9990;p14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91" name="Google Shape;9991;p14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92" name="Google Shape;9992;p14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13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09" name="Google Shape;13409;p105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10" name="Google Shape;13410;p10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411" name="Google Shape;13411;p10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412" name="Google Shape;13412;p1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13" name="Google Shape;13413;p1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14" name="Google Shape;13414;p1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415" name="Google Shape;13415;p1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3416" name="Google Shape;13416;p105"/>
          <p:cNvSpPr txBox="1">
            <a:spLocks noGrp="1"/>
          </p:cNvSpPr>
          <p:nvPr>
            <p:ph type="body" idx="2"/>
          </p:nvPr>
        </p:nvSpPr>
        <p:spPr>
          <a:xfrm>
            <a:off x="6172201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17" name="Google Shape;13417;p105"/>
          <p:cNvSpPr txBox="1">
            <a:spLocks noGrp="1"/>
          </p:cNvSpPr>
          <p:nvPr>
            <p:ph type="sldNum" idx="12"/>
          </p:nvPr>
        </p:nvSpPr>
        <p:spPr>
          <a:xfrm>
            <a:off x="8839199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18" name="Google Shape;13418;p1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3419" name="Google Shape;13419;p105"/>
          <p:cNvCxnSpPr/>
          <p:nvPr/>
        </p:nvCxnSpPr>
        <p:spPr>
          <a:xfrm>
            <a:off x="704315" y="1425993"/>
            <a:ext cx="109728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20" name="Google Shape;13420;p105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13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22" name="Google Shape;13422;p10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423" name="Google Shape;13423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24" name="Google Shape;13424;p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25" name="Google Shape;13425;p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426" name="Google Shape;13426;p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3427" name="Google Shape;13427;p106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28" name="Google Shape;13428;p106"/>
          <p:cNvSpPr txBox="1"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429" name="Google Shape;13429;p106"/>
          <p:cNvSpPr txBox="1">
            <a:spLocks noGrp="1"/>
          </p:cNvSpPr>
          <p:nvPr>
            <p:ph type="body" idx="2"/>
          </p:nvPr>
        </p:nvSpPr>
        <p:spPr>
          <a:xfrm>
            <a:off x="609602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30" name="Google Shape;13430;p10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431" name="Google Shape;13431;p10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32" name="Google Shape;13432;p106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33" name="Google Shape;13433;p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34" name="Google Shape;13434;p106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3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36" name="Google Shape;13436;p10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437" name="Google Shape;13437;p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38" name="Google Shape;13438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39" name="Google Shape;13439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440" name="Google Shape;13440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3441" name="Google Shape;13441;p107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42" name="Google Shape;13442;p107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43" name="Google Shape;13443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3444" name="Google Shape;13444;p107"/>
          <p:cNvCxnSpPr/>
          <p:nvPr/>
        </p:nvCxnSpPr>
        <p:spPr>
          <a:xfrm>
            <a:off x="707293" y="1425993"/>
            <a:ext cx="109728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45" name="Google Shape;13445;p107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13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47" name="Google Shape;13447;p10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448" name="Google Shape;13448;p10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49" name="Google Shape;13449;p10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450" name="Google Shape;13450;p108"/>
          <p:cNvSpPr/>
          <p:nvPr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51" name="Google Shape;13451;p108"/>
          <p:cNvCxnSpPr/>
          <p:nvPr/>
        </p:nvCxnSpPr>
        <p:spPr>
          <a:xfrm>
            <a:off x="1325947" y="3080084"/>
            <a:ext cx="685399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52" name="Google Shape;13452;p108"/>
          <p:cNvSpPr txBox="1">
            <a:spLocks noGrp="1"/>
          </p:cNvSpPr>
          <p:nvPr>
            <p:ph type="body" idx="1"/>
          </p:nvPr>
        </p:nvSpPr>
        <p:spPr>
          <a:xfrm>
            <a:off x="1219202" y="3429002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3" name="Google Shape;13453;p108"/>
          <p:cNvSpPr txBox="1">
            <a:spLocks noGrp="1"/>
          </p:cNvSpPr>
          <p:nvPr>
            <p:ph type="ctrTitle"/>
          </p:nvPr>
        </p:nvSpPr>
        <p:spPr>
          <a:xfrm>
            <a:off x="1219201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54" name="Google Shape;13454;p1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455" name="Google Shape;13455;p108"/>
          <p:cNvSpPr>
            <a:spLocks noGrp="1"/>
          </p:cNvSpPr>
          <p:nvPr>
            <p:ph type="pic" idx="2"/>
          </p:nvPr>
        </p:nvSpPr>
        <p:spPr>
          <a:xfrm>
            <a:off x="7118685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13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57" name="Google Shape;13457;p109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58" name="Google Shape;13458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59" name="Google Shape;13459;p109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460" name="Google Shape;13460;p109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461" name="Google Shape;13461;p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62" name="Google Shape;13462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63" name="Google Shape;13463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464" name="Google Shape;13464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13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66" name="Google Shape;13466;p110"/>
          <p:cNvSpPr txBox="1"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67" name="Google Shape;13467;p110"/>
          <p:cNvSpPr txBox="1">
            <a:spLocks noGrp="1"/>
          </p:cNvSpPr>
          <p:nvPr>
            <p:ph type="subTitle" idx="1"/>
          </p:nvPr>
        </p:nvSpPr>
        <p:spPr>
          <a:xfrm>
            <a:off x="513349" y="5400327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3468" name="Google Shape;13468;p110"/>
          <p:cNvCxnSpPr/>
          <p:nvPr/>
        </p:nvCxnSpPr>
        <p:spPr>
          <a:xfrm>
            <a:off x="620093" y="5141451"/>
            <a:ext cx="22860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469" name="Google Shape;13469;p110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3470" name="Google Shape;13470;p110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71" name="Google Shape;13471;p110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3472" name="Google Shape;13472;p11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136525"/>
            <a:ext cx="1945207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3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74" name="Google Shape;13474;p111"/>
          <p:cNvSpPr txBox="1">
            <a:spLocks noGrp="1"/>
          </p:cNvSpPr>
          <p:nvPr>
            <p:ph type="ctrTitle"/>
          </p:nvPr>
        </p:nvSpPr>
        <p:spPr>
          <a:xfrm>
            <a:off x="914400" y="2130446"/>
            <a:ext cx="103632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75" name="Google Shape;13475;p111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>
                <a:solidFill>
                  <a:srgbClr val="919497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>
                <a:solidFill>
                  <a:srgbClr val="919497"/>
                </a:solidFill>
              </a:defRPr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>
                <a:solidFill>
                  <a:srgbClr val="919497"/>
                </a:solidFill>
              </a:defRPr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>
                <a:solidFill>
                  <a:srgbClr val="919497"/>
                </a:solidFill>
              </a:defRPr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>
                <a:solidFill>
                  <a:srgbClr val="919497"/>
                </a:solidFill>
              </a:defRPr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800"/>
              <a:buNone/>
              <a:defRPr>
                <a:solidFill>
                  <a:srgbClr val="919497"/>
                </a:solidFill>
              </a:defRPr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800"/>
              <a:buNone/>
              <a:defRPr>
                <a:solidFill>
                  <a:srgbClr val="919497"/>
                </a:solidFill>
              </a:defRPr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800"/>
              <a:buNone/>
              <a:defRPr>
                <a:solidFill>
                  <a:srgbClr val="919497"/>
                </a:solidFill>
              </a:defRPr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800"/>
              <a:buNone/>
              <a:defRPr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3476" name="Google Shape;13476;p11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477" name="Google Shape;13477;p111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78" name="Google Shape;13478;p111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80" name="Google Shape;13480;p112"/>
          <p:cNvSpPr txBox="1">
            <a:spLocks noGrp="1"/>
          </p:cNvSpPr>
          <p:nvPr>
            <p:ph type="title"/>
          </p:nvPr>
        </p:nvSpPr>
        <p:spPr>
          <a:xfrm>
            <a:off x="963084" y="4406921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1" name="Google Shape;13481;p112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3482" name="Google Shape;13482;p11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483" name="Google Shape;13483;p112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4" name="Google Shape;13484;p112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3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86" name="Google Shape;13486;p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7" name="Google Shape;13487;p1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488" name="Google Shape;13488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489" name="Google Shape;13489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90" name="Google Shape;13490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91" name="Google Shape;13491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92" name="Google Shape;13492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493" name="Google Shape;13493;p11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94" name="Google Shape;13494;p1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95" name="Google Shape;13495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96" name="Google Shape;13496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3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98" name="Google Shape;13498;p114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99" name="Google Shape;13499;p114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3137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500" name="Google Shape;13500;p114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01" name="Google Shape;13501;p114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3137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502" name="Google Shape;13502;p114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03" name="Google Shape;13503;p114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504" name="Google Shape;13504;p114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505" name="Google Shape;13505;p114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3506" name="Google Shape;13506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9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4" name="Google Shape;9994;p14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95" name="Google Shape;9995;p14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96" name="Google Shape;9996;p14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97" name="Google Shape;9997;p14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98" name="Google Shape;9998;p14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99" name="Google Shape;9999;p14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00" name="Google Shape;10000;p14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01" name="Google Shape;10001;p14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02" name="Google Shape;10002;p14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03" name="Google Shape;10003;p14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04" name="Google Shape;10004;p14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05" name="Google Shape;10005;p14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3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08" name="Google Shape;13508;p115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750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31126"/>
              </a:buClr>
              <a:buSzPts val="2100"/>
              <a:buFont typeface="Arial"/>
              <a:buNone/>
              <a:defRPr sz="2100">
                <a:solidFill>
                  <a:srgbClr val="B3112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09" name="Google Shape;13509;p115"/>
          <p:cNvSpPr txBox="1">
            <a:spLocks noGrp="1"/>
          </p:cNvSpPr>
          <p:nvPr>
            <p:ph type="sldNum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510" name="Google Shape;13510;p115"/>
          <p:cNvSpPr txBox="1">
            <a:spLocks noGrp="1"/>
          </p:cNvSpPr>
          <p:nvPr>
            <p:ph type="body" idx="1"/>
          </p:nvPr>
        </p:nvSpPr>
        <p:spPr>
          <a:xfrm>
            <a:off x="609600" y="1168400"/>
            <a:ext cx="11108267" cy="46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101B42"/>
                </a:solidFill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101B42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101B42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 2">
    <p:spTree>
      <p:nvGrpSpPr>
        <p:cNvPr id="1" name="Shape 13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2" name="Google Shape;13512;p116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750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31126"/>
              </a:buClr>
              <a:buSzPts val="2100"/>
              <a:buFont typeface="Arial"/>
              <a:buNone/>
              <a:defRPr sz="2100">
                <a:solidFill>
                  <a:srgbClr val="B3112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13" name="Google Shape;13513;p116"/>
          <p:cNvSpPr txBox="1">
            <a:spLocks noGrp="1"/>
          </p:cNvSpPr>
          <p:nvPr>
            <p:ph type="sldNum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514" name="Google Shape;13514;p116"/>
          <p:cNvSpPr txBox="1">
            <a:spLocks noGrp="1"/>
          </p:cNvSpPr>
          <p:nvPr>
            <p:ph type="body" idx="1"/>
          </p:nvPr>
        </p:nvSpPr>
        <p:spPr>
          <a:xfrm>
            <a:off x="609600" y="1168400"/>
            <a:ext cx="11108267" cy="46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101B42"/>
                </a:solidFill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101B42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101B42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 3">
    <p:spTree>
      <p:nvGrpSpPr>
        <p:cNvPr id="1" name="Shape 13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" name="Google Shape;13516;p117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750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31126"/>
              </a:buClr>
              <a:buSzPts val="2100"/>
              <a:buFont typeface="Arial"/>
              <a:buNone/>
              <a:defRPr sz="2100">
                <a:solidFill>
                  <a:srgbClr val="B3112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17" name="Google Shape;13517;p117"/>
          <p:cNvSpPr txBox="1">
            <a:spLocks noGrp="1"/>
          </p:cNvSpPr>
          <p:nvPr>
            <p:ph type="sldNum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518" name="Google Shape;13518;p117"/>
          <p:cNvSpPr txBox="1">
            <a:spLocks noGrp="1"/>
          </p:cNvSpPr>
          <p:nvPr>
            <p:ph type="body" idx="1"/>
          </p:nvPr>
        </p:nvSpPr>
        <p:spPr>
          <a:xfrm>
            <a:off x="609600" y="1168400"/>
            <a:ext cx="11108267" cy="46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101B42"/>
                </a:solidFill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101B42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101B42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 4">
    <p:spTree>
      <p:nvGrpSpPr>
        <p:cNvPr id="1" name="Shape 13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20" name="Google Shape;13520;p118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750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31126"/>
              </a:buClr>
              <a:buSzPts val="2100"/>
              <a:buFont typeface="Arial"/>
              <a:buNone/>
              <a:defRPr sz="2100">
                <a:solidFill>
                  <a:srgbClr val="B3112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21" name="Google Shape;13521;p118"/>
          <p:cNvSpPr txBox="1">
            <a:spLocks noGrp="1"/>
          </p:cNvSpPr>
          <p:nvPr>
            <p:ph type="sldNum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522" name="Google Shape;13522;p118"/>
          <p:cNvSpPr txBox="1">
            <a:spLocks noGrp="1"/>
          </p:cNvSpPr>
          <p:nvPr>
            <p:ph type="body" idx="1"/>
          </p:nvPr>
        </p:nvSpPr>
        <p:spPr>
          <a:xfrm>
            <a:off x="609600" y="1168400"/>
            <a:ext cx="11108267" cy="46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101B42"/>
                </a:solidFill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101B42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101B42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 5">
    <p:spTree>
      <p:nvGrpSpPr>
        <p:cNvPr id="1" name="Shape 13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24" name="Google Shape;13524;p119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750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31126"/>
              </a:buClr>
              <a:buSzPts val="2100"/>
              <a:buFont typeface="Arial"/>
              <a:buNone/>
              <a:defRPr sz="2100">
                <a:solidFill>
                  <a:srgbClr val="B3112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25" name="Google Shape;13525;p119"/>
          <p:cNvSpPr txBox="1">
            <a:spLocks noGrp="1"/>
          </p:cNvSpPr>
          <p:nvPr>
            <p:ph type="sldNum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526" name="Google Shape;13526;p119"/>
          <p:cNvSpPr txBox="1">
            <a:spLocks noGrp="1"/>
          </p:cNvSpPr>
          <p:nvPr>
            <p:ph type="body" idx="1"/>
          </p:nvPr>
        </p:nvSpPr>
        <p:spPr>
          <a:xfrm>
            <a:off x="609600" y="1168400"/>
            <a:ext cx="11108267" cy="46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101B42"/>
                </a:solidFill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101B42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101B42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 6">
    <p:spTree>
      <p:nvGrpSpPr>
        <p:cNvPr id="1" name="Shape 13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28" name="Google Shape;13528;p120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750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31126"/>
              </a:buClr>
              <a:buSzPts val="2100"/>
              <a:buFont typeface="Arial"/>
              <a:buNone/>
              <a:defRPr sz="2100">
                <a:solidFill>
                  <a:srgbClr val="B3112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29" name="Google Shape;13529;p120"/>
          <p:cNvSpPr txBox="1">
            <a:spLocks noGrp="1"/>
          </p:cNvSpPr>
          <p:nvPr>
            <p:ph type="sldNum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530" name="Google Shape;13530;p120"/>
          <p:cNvSpPr txBox="1">
            <a:spLocks noGrp="1"/>
          </p:cNvSpPr>
          <p:nvPr>
            <p:ph type="body" idx="1"/>
          </p:nvPr>
        </p:nvSpPr>
        <p:spPr>
          <a:xfrm>
            <a:off x="609600" y="1168400"/>
            <a:ext cx="11108267" cy="46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101B42"/>
                </a:solidFill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101B42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101B42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 7">
    <p:spTree>
      <p:nvGrpSpPr>
        <p:cNvPr id="1" name="Shape 135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32" name="Google Shape;13532;p121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750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31126"/>
              </a:buClr>
              <a:buSzPts val="2100"/>
              <a:buFont typeface="Arial"/>
              <a:buNone/>
              <a:defRPr sz="2100">
                <a:solidFill>
                  <a:srgbClr val="B3112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33" name="Google Shape;13533;p121"/>
          <p:cNvSpPr txBox="1">
            <a:spLocks noGrp="1"/>
          </p:cNvSpPr>
          <p:nvPr>
            <p:ph type="sldNum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534" name="Google Shape;13534;p121"/>
          <p:cNvSpPr txBox="1">
            <a:spLocks noGrp="1"/>
          </p:cNvSpPr>
          <p:nvPr>
            <p:ph type="body" idx="1"/>
          </p:nvPr>
        </p:nvSpPr>
        <p:spPr>
          <a:xfrm>
            <a:off x="609600" y="1168400"/>
            <a:ext cx="11108267" cy="46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101B42"/>
                </a:solidFill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101B42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101B42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 8">
    <p:spTree>
      <p:nvGrpSpPr>
        <p:cNvPr id="1" name="Shape 13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36" name="Google Shape;13536;p122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750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31126"/>
              </a:buClr>
              <a:buSzPts val="2100"/>
              <a:buFont typeface="Arial"/>
              <a:buNone/>
              <a:defRPr sz="2100">
                <a:solidFill>
                  <a:srgbClr val="B3112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37" name="Google Shape;13537;p122"/>
          <p:cNvSpPr txBox="1">
            <a:spLocks noGrp="1"/>
          </p:cNvSpPr>
          <p:nvPr>
            <p:ph type="sldNum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538" name="Google Shape;13538;p122"/>
          <p:cNvSpPr txBox="1">
            <a:spLocks noGrp="1"/>
          </p:cNvSpPr>
          <p:nvPr>
            <p:ph type="body" idx="1"/>
          </p:nvPr>
        </p:nvSpPr>
        <p:spPr>
          <a:xfrm>
            <a:off x="609600" y="1168400"/>
            <a:ext cx="11108267" cy="46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101B42"/>
                </a:solidFill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101B42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101B42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101B4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 flipH="1">
            <a:off x="10995200" y="5661233"/>
            <a:ext cx="1196800" cy="1196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 flipH="1">
            <a:off x="10995200" y="5661167"/>
            <a:ext cx="1196800" cy="1196800"/>
          </a:xfrm>
          <a:prstGeom prst="round1Rect">
            <a:avLst>
              <a:gd name="adj" fmla="val 16667"/>
            </a:avLst>
          </a:prstGeom>
          <a:solidFill>
            <a:schemeClr val="lt1">
              <a:alpha val="6808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520700" y="2425700"/>
            <a:ext cx="10962800" cy="124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520700" y="3718840"/>
            <a:ext cx="10962800" cy="57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>
                <a:solidFill>
                  <a:schemeClr val="lt1"/>
                </a:solidFill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>
                <a:solidFill>
                  <a:schemeClr val="lt1"/>
                </a:solidFill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>
                <a:solidFill>
                  <a:schemeClr val="lt1"/>
                </a:solidFill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>
                <a:solidFill>
                  <a:schemeClr val="lt1"/>
                </a:solidFill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>
                <a:solidFill>
                  <a:schemeClr val="lt1"/>
                </a:solidFill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>
                <a:solidFill>
                  <a:schemeClr val="lt1"/>
                </a:solidFill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>
                <a:solidFill>
                  <a:schemeClr val="lt1"/>
                </a:solidFill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2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25088036"/>
      </p:ext>
    </p:extLst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614600" y="2753800"/>
            <a:ext cx="10962800" cy="135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819730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2">
    <p:spTree>
      <p:nvGrpSpPr>
        <p:cNvPr id="1" name="Shape 100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7" name="Google Shape;10007;p140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08" name="Google Shape;10008;p140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09" name="Google Shape;10009;p14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10" name="Google Shape;10010;p14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11" name="Google Shape;10011;p14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12" name="Google Shape;10012;p14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13" name="Google Shape;10013;p14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14" name="Google Shape;10014;p14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15" name="Google Shape;10015;p14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16" name="Google Shape;10016;p14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17" name="Google Shape;10017;p14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18" name="Google Shape;10018;p14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/>
          <p:nvPr/>
        </p:nvSpPr>
        <p:spPr>
          <a:xfrm rot="10800000" flipH="1">
            <a:off x="0" y="2248000"/>
            <a:ext cx="12192000" cy="461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0" name="Google Shape;20;p4"/>
          <p:cNvSpPr/>
          <p:nvPr/>
        </p:nvSpPr>
        <p:spPr>
          <a:xfrm>
            <a:off x="0" y="2248000"/>
            <a:ext cx="12192000" cy="144800"/>
          </a:xfrm>
          <a:prstGeom prst="rect">
            <a:avLst/>
          </a:prstGeom>
          <a:gradFill>
            <a:gsLst>
              <a:gs pos="0">
                <a:srgbClr val="F9F9F9"/>
              </a:gs>
              <a:gs pos="36000">
                <a:srgbClr val="F9F9F9"/>
              </a:gs>
              <a:gs pos="80000">
                <a:srgbClr val="DEDEDE"/>
              </a:gs>
              <a:gs pos="100000">
                <a:srgbClr val="999999"/>
              </a:gs>
            </a:gsLst>
            <a:lin ang="16200038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" name="Google Shape;21;p4"/>
          <p:cNvSpPr txBox="1">
            <a:spLocks noGrp="1"/>
          </p:cNvSpPr>
          <p:nvPr>
            <p:ph type="title"/>
          </p:nvPr>
        </p:nvSpPr>
        <p:spPr>
          <a:xfrm>
            <a:off x="629200" y="984967"/>
            <a:ext cx="10962800" cy="102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body" idx="1"/>
          </p:nvPr>
        </p:nvSpPr>
        <p:spPr>
          <a:xfrm>
            <a:off x="629200" y="2558767"/>
            <a:ext cx="10962800" cy="361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43867127"/>
      </p:ext>
    </p:extLst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5"/>
          <p:cNvSpPr/>
          <p:nvPr/>
        </p:nvSpPr>
        <p:spPr>
          <a:xfrm rot="10800000" flipH="1">
            <a:off x="0" y="2248000"/>
            <a:ext cx="12192000" cy="461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" name="Google Shape;26;p5"/>
          <p:cNvSpPr/>
          <p:nvPr/>
        </p:nvSpPr>
        <p:spPr>
          <a:xfrm>
            <a:off x="0" y="2248000"/>
            <a:ext cx="12192000" cy="144800"/>
          </a:xfrm>
          <a:prstGeom prst="rect">
            <a:avLst/>
          </a:prstGeom>
          <a:gradFill>
            <a:gsLst>
              <a:gs pos="0">
                <a:srgbClr val="F9F9F9"/>
              </a:gs>
              <a:gs pos="36000">
                <a:srgbClr val="F9F9F9"/>
              </a:gs>
              <a:gs pos="80000">
                <a:srgbClr val="DEDEDE"/>
              </a:gs>
              <a:gs pos="100000">
                <a:srgbClr val="999999"/>
              </a:gs>
            </a:gsLst>
            <a:lin ang="16200038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" name="Google Shape;27;p5"/>
          <p:cNvSpPr txBox="1">
            <a:spLocks noGrp="1"/>
          </p:cNvSpPr>
          <p:nvPr>
            <p:ph type="title"/>
          </p:nvPr>
        </p:nvSpPr>
        <p:spPr>
          <a:xfrm>
            <a:off x="629200" y="984967"/>
            <a:ext cx="10962800" cy="102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5"/>
          <p:cNvSpPr txBox="1">
            <a:spLocks noGrp="1"/>
          </p:cNvSpPr>
          <p:nvPr>
            <p:ph type="body" idx="1"/>
          </p:nvPr>
        </p:nvSpPr>
        <p:spPr>
          <a:xfrm>
            <a:off x="629200" y="2558767"/>
            <a:ext cx="5333200" cy="361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body" idx="2"/>
          </p:nvPr>
        </p:nvSpPr>
        <p:spPr>
          <a:xfrm>
            <a:off x="6259000" y="2558767"/>
            <a:ext cx="5333200" cy="361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20751223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6"/>
          <p:cNvSpPr/>
          <p:nvPr/>
        </p:nvSpPr>
        <p:spPr>
          <a:xfrm rot="10800000" flipH="1">
            <a:off x="0" y="875200"/>
            <a:ext cx="12192000" cy="5982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" name="Google Shape;33;p6"/>
          <p:cNvSpPr/>
          <p:nvPr/>
        </p:nvSpPr>
        <p:spPr>
          <a:xfrm>
            <a:off x="0" y="875133"/>
            <a:ext cx="12192000" cy="144800"/>
          </a:xfrm>
          <a:prstGeom prst="rect">
            <a:avLst/>
          </a:prstGeom>
          <a:gradFill>
            <a:gsLst>
              <a:gs pos="0">
                <a:srgbClr val="F9F9F9"/>
              </a:gs>
              <a:gs pos="36000">
                <a:srgbClr val="F9F9F9"/>
              </a:gs>
              <a:gs pos="80000">
                <a:srgbClr val="DEDEDE"/>
              </a:gs>
              <a:gs pos="100000">
                <a:srgbClr val="999999"/>
              </a:gs>
            </a:gsLst>
            <a:lin ang="16200038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" name="Google Shape;34;p6"/>
          <p:cNvSpPr txBox="1">
            <a:spLocks noGrp="1"/>
          </p:cNvSpPr>
          <p:nvPr>
            <p:ph type="title"/>
          </p:nvPr>
        </p:nvSpPr>
        <p:spPr>
          <a:xfrm>
            <a:off x="131000" y="21800"/>
            <a:ext cx="11768800" cy="80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35" name="Google Shape;35;p6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90258627"/>
      </p:ext>
    </p:extLst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7"/>
          <p:cNvSpPr txBox="1"/>
          <p:nvPr/>
        </p:nvSpPr>
        <p:spPr>
          <a:xfrm rot="10800000" flipH="1">
            <a:off x="4368800" y="33"/>
            <a:ext cx="78232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7"/>
          <p:cNvSpPr/>
          <p:nvPr/>
        </p:nvSpPr>
        <p:spPr>
          <a:xfrm rot="-5400000">
            <a:off x="1012200" y="3356600"/>
            <a:ext cx="6858000" cy="144800"/>
          </a:xfrm>
          <a:prstGeom prst="rect">
            <a:avLst/>
          </a:prstGeom>
          <a:gradFill>
            <a:gsLst>
              <a:gs pos="0">
                <a:srgbClr val="F9F9F9"/>
              </a:gs>
              <a:gs pos="36000">
                <a:srgbClr val="F9F9F9"/>
              </a:gs>
              <a:gs pos="80000">
                <a:srgbClr val="DEDEDE"/>
              </a:gs>
              <a:gs pos="100000">
                <a:srgbClr val="999999"/>
              </a:gs>
            </a:gsLst>
            <a:lin ang="16200038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" name="Google Shape;39;p7"/>
          <p:cNvSpPr txBox="1">
            <a:spLocks noGrp="1"/>
          </p:cNvSpPr>
          <p:nvPr>
            <p:ph type="title"/>
          </p:nvPr>
        </p:nvSpPr>
        <p:spPr>
          <a:xfrm>
            <a:off x="301437" y="477067"/>
            <a:ext cx="3744000" cy="127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1"/>
          </p:nvPr>
        </p:nvSpPr>
        <p:spPr>
          <a:xfrm>
            <a:off x="301433" y="1954400"/>
            <a:ext cx="3744000" cy="421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●"/>
              <a:defRPr sz="1600">
                <a:solidFill>
                  <a:schemeClr val="lt1"/>
                </a:solidFill>
              </a:defRPr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200"/>
              <a:buChar char="○"/>
              <a:defRPr sz="1600">
                <a:solidFill>
                  <a:schemeClr val="lt1"/>
                </a:solidFill>
              </a:defRPr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200"/>
              <a:buChar char="■"/>
              <a:defRPr sz="1600">
                <a:solidFill>
                  <a:schemeClr val="lt1"/>
                </a:solidFill>
              </a:defRPr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200"/>
              <a:buChar char="●"/>
              <a:defRPr sz="1600">
                <a:solidFill>
                  <a:schemeClr val="lt1"/>
                </a:solidFill>
              </a:defRPr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200"/>
              <a:buChar char="○"/>
              <a:defRPr sz="1600">
                <a:solidFill>
                  <a:schemeClr val="lt1"/>
                </a:solidFill>
              </a:defRPr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200"/>
              <a:buChar char="■"/>
              <a:defRPr sz="1600">
                <a:solidFill>
                  <a:schemeClr val="lt1"/>
                </a:solidFill>
              </a:defRPr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200"/>
              <a:buChar char="●"/>
              <a:defRPr sz="1600">
                <a:solidFill>
                  <a:schemeClr val="lt1"/>
                </a:solidFill>
              </a:defRPr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200"/>
              <a:buChar char="○"/>
              <a:defRPr sz="1600">
                <a:solidFill>
                  <a:schemeClr val="lt1"/>
                </a:solidFill>
              </a:defRPr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Clr>
                <a:schemeClr val="lt1"/>
              </a:buClr>
              <a:buSzPts val="1200"/>
              <a:buChar char="■"/>
              <a:defRPr sz="1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885470885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8"/>
          <p:cNvSpPr txBox="1">
            <a:spLocks noGrp="1"/>
          </p:cNvSpPr>
          <p:nvPr>
            <p:ph type="title"/>
          </p:nvPr>
        </p:nvSpPr>
        <p:spPr>
          <a:xfrm>
            <a:off x="653667" y="651000"/>
            <a:ext cx="83028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endParaRPr/>
          </a:p>
        </p:txBody>
      </p:sp>
      <p:sp>
        <p:nvSpPr>
          <p:cNvPr id="44" name="Google Shape;44;p8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22827593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9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" name="Google Shape;47;p9"/>
          <p:cNvSpPr/>
          <p:nvPr/>
        </p:nvSpPr>
        <p:spPr>
          <a:xfrm rot="5400000">
            <a:off x="2595233" y="3357000"/>
            <a:ext cx="6857200" cy="144800"/>
          </a:xfrm>
          <a:prstGeom prst="rect">
            <a:avLst/>
          </a:prstGeom>
          <a:gradFill>
            <a:gsLst>
              <a:gs pos="0">
                <a:srgbClr val="F9F9F9"/>
              </a:gs>
              <a:gs pos="36000">
                <a:srgbClr val="F9F9F9"/>
              </a:gs>
              <a:gs pos="80000">
                <a:srgbClr val="DEDEDE"/>
              </a:gs>
              <a:gs pos="100000">
                <a:srgbClr val="999999"/>
              </a:gs>
            </a:gsLst>
            <a:lin ang="16200038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" name="Google Shape;48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5600">
                <a:solidFill>
                  <a:schemeClr val="dk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5600">
                <a:solidFill>
                  <a:schemeClr val="dk2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5600">
                <a:solidFill>
                  <a:schemeClr val="dk2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5600">
                <a:solidFill>
                  <a:schemeClr val="dk2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5600">
                <a:solidFill>
                  <a:schemeClr val="dk2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5600">
                <a:solidFill>
                  <a:schemeClr val="dk2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5600">
                <a:solidFill>
                  <a:schemeClr val="dk2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5600">
                <a:solidFill>
                  <a:schemeClr val="dk2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5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49" name="Google Shape;49;p9"/>
          <p:cNvSpPr txBox="1">
            <a:spLocks noGrp="1"/>
          </p:cNvSpPr>
          <p:nvPr>
            <p:ph type="subTitle" idx="1"/>
          </p:nvPr>
        </p:nvSpPr>
        <p:spPr>
          <a:xfrm>
            <a:off x="354000" y="3705956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0" name="Google Shape;50;p9"/>
          <p:cNvSpPr txBox="1">
            <a:spLocks noGrp="1"/>
          </p:cNvSpPr>
          <p:nvPr>
            <p:ph type="body" idx="2"/>
          </p:nvPr>
        </p:nvSpPr>
        <p:spPr>
          <a:xfrm>
            <a:off x="6586000" y="965600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●"/>
              <a:defRPr>
                <a:solidFill>
                  <a:schemeClr val="lt1"/>
                </a:solidFill>
              </a:defRPr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1" name="Google Shape;51;p9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734898004"/>
      </p:ext>
    </p:extLst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0"/>
          <p:cNvSpPr txBox="1"/>
          <p:nvPr/>
        </p:nvSpPr>
        <p:spPr>
          <a:xfrm rot="10800000" flipH="1">
            <a:off x="0" y="0"/>
            <a:ext cx="12192000" cy="62612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" name="Google Shape;54;p10"/>
          <p:cNvSpPr/>
          <p:nvPr/>
        </p:nvSpPr>
        <p:spPr>
          <a:xfrm rot="10800000" flipH="1">
            <a:off x="0" y="6163633"/>
            <a:ext cx="12192000" cy="98800"/>
          </a:xfrm>
          <a:prstGeom prst="rect">
            <a:avLst/>
          </a:prstGeom>
          <a:gradFill>
            <a:gsLst>
              <a:gs pos="0">
                <a:srgbClr val="F9F9F9"/>
              </a:gs>
              <a:gs pos="36000">
                <a:srgbClr val="F9F9F9"/>
              </a:gs>
              <a:gs pos="80000">
                <a:srgbClr val="DEDEDE"/>
              </a:gs>
              <a:gs pos="100000">
                <a:srgbClr val="999999"/>
              </a:gs>
            </a:gsLst>
            <a:lin ang="16200038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10"/>
          <p:cNvSpPr txBox="1">
            <a:spLocks noGrp="1"/>
          </p:cNvSpPr>
          <p:nvPr>
            <p:ph type="body" idx="1"/>
          </p:nvPr>
        </p:nvSpPr>
        <p:spPr>
          <a:xfrm>
            <a:off x="76200" y="6262433"/>
            <a:ext cx="11176000" cy="59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600">
                <a:solidFill>
                  <a:schemeClr val="lt1"/>
                </a:solidFill>
              </a:defRPr>
            </a:lvl1pPr>
          </a:lstStyle>
          <a:p>
            <a:endParaRPr/>
          </a:p>
        </p:txBody>
      </p:sp>
      <p:sp>
        <p:nvSpPr>
          <p:cNvPr id="56" name="Google Shape;56;p10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932824303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bg>
      <p:bgPr>
        <a:solidFill>
          <a:schemeClr val="accent4"/>
        </a:solidFill>
        <a:effectLst/>
      </p:bgPr>
    </p:bg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1"/>
          <p:cNvSpPr txBox="1">
            <a:spLocks noGrp="1"/>
          </p:cNvSpPr>
          <p:nvPr>
            <p:ph type="title" hasCustomPrompt="1"/>
          </p:nvPr>
        </p:nvSpPr>
        <p:spPr>
          <a:xfrm>
            <a:off x="634000" y="1678033"/>
            <a:ext cx="10962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59" name="Google Shape;59;p11"/>
          <p:cNvSpPr txBox="1">
            <a:spLocks noGrp="1"/>
          </p:cNvSpPr>
          <p:nvPr>
            <p:ph type="body" idx="1"/>
          </p:nvPr>
        </p:nvSpPr>
        <p:spPr>
          <a:xfrm>
            <a:off x="634000" y="4406167"/>
            <a:ext cx="10962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0" name="Google Shape;60;p11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85975946"/>
      </p:ext>
    </p:extLst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solidFill>
          <a:schemeClr val="accent4"/>
        </a:solidFill>
        <a:effectLst/>
      </p:bgPr>
    </p:bg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2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777441060"/>
      </p:ext>
    </p:extLst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 flip="none" rotWithShape="1">
          <a:gsLst>
            <a:gs pos="0">
              <a:srgbClr val="51468B"/>
            </a:gs>
            <a:gs pos="100000">
              <a:schemeClr val="accent1"/>
            </a:gs>
          </a:gsLst>
          <a:lin ang="1452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/>
          <p:nvPr userDrawn="1"/>
        </p:nvSpPr>
        <p:spPr>
          <a:xfrm>
            <a:off x="1" y="-67715"/>
            <a:ext cx="4044076" cy="6998555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22311 w 241956"/>
              <a:gd name="connsiteY3" fmla="*/ 380776 h 381336"/>
              <a:gd name="connsiteX4" fmla="*/ 0 w 241956"/>
              <a:gd name="connsiteY4" fmla="*/ 231 h 381336"/>
              <a:gd name="connsiteX0" fmla="*/ 0 w 241956"/>
              <a:gd name="connsiteY0" fmla="*/ 231 h 381687"/>
              <a:gd name="connsiteX1" fmla="*/ 41468 w 241956"/>
              <a:gd name="connsiteY1" fmla="*/ 0 h 381687"/>
              <a:gd name="connsiteX2" fmla="*/ 241956 w 241956"/>
              <a:gd name="connsiteY2" fmla="*/ 381336 h 381687"/>
              <a:gd name="connsiteX3" fmla="*/ 21400 w 241956"/>
              <a:gd name="connsiteY3" fmla="*/ 381687 h 381687"/>
              <a:gd name="connsiteX4" fmla="*/ 0 w 2419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556" h="381687">
                <a:moveTo>
                  <a:pt x="0" y="231"/>
                </a:moveTo>
                <a:lnTo>
                  <a:pt x="20068" y="0"/>
                </a:lnTo>
                <a:lnTo>
                  <a:pt x="220556" y="381336"/>
                </a:lnTo>
                <a:lnTo>
                  <a:pt x="0" y="381687"/>
                </a:lnTo>
                <a:lnTo>
                  <a:pt x="0" y="23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kern="1200" dirty="0">
                <a:solidFill>
                  <a:schemeClr val="tx2"/>
                </a:solidFill>
              </a:rPr>
              <a:t>            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429994" y="2757255"/>
            <a:ext cx="8996397" cy="1168439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5333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cument Tit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468256" y="3993687"/>
            <a:ext cx="8966819" cy="9144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Document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85" y="423416"/>
            <a:ext cx="3318337" cy="61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9879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10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0" name="Google Shape;10020;p14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21" name="Google Shape;10021;p14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22" name="Google Shape;10022;p14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23" name="Google Shape;10023;p14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24" name="Google Shape;10024;p14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025" name="Google Shape;10025;p14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26" name="Google Shape;10026;p14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27" name="Google Shape;10027;p14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Freeform 13"/>
          <p:cNvSpPr/>
          <p:nvPr userDrawn="1"/>
        </p:nvSpPr>
        <p:spPr bwMode="gray">
          <a:xfrm>
            <a:off x="-43701" y="-43316"/>
            <a:ext cx="8920916" cy="693409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768767 w 8888024"/>
              <a:gd name="connsiteY2" fmla="*/ 6942534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53589"/>
              <a:gd name="connsiteX1" fmla="*/ 8888024 w 8888024"/>
              <a:gd name="connsiteY1" fmla="*/ 6942534 h 6953589"/>
              <a:gd name="connsiteX2" fmla="*/ 0 w 8888024"/>
              <a:gd name="connsiteY2" fmla="*/ 6953589 h 6953589"/>
              <a:gd name="connsiteX3" fmla="*/ 0 w 8888024"/>
              <a:gd name="connsiteY3" fmla="*/ 0 h 6953589"/>
              <a:gd name="connsiteX4" fmla="*/ 5222260 w 8888024"/>
              <a:gd name="connsiteY4" fmla="*/ 2891 h 6953589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65897 w 8931661"/>
              <a:gd name="connsiteY0" fmla="*/ 2891 h 6942534"/>
              <a:gd name="connsiteX1" fmla="*/ 8931661 w 8931661"/>
              <a:gd name="connsiteY1" fmla="*/ 6942534 h 6942534"/>
              <a:gd name="connsiteX2" fmla="*/ 0 w 8931661"/>
              <a:gd name="connsiteY2" fmla="*/ 6931481 h 6942534"/>
              <a:gd name="connsiteX3" fmla="*/ 43637 w 8931661"/>
              <a:gd name="connsiteY3" fmla="*/ 0 h 6942534"/>
              <a:gd name="connsiteX4" fmla="*/ 5265897 w 8931661"/>
              <a:gd name="connsiteY4" fmla="*/ 2891 h 6942534"/>
              <a:gd name="connsiteX0" fmla="*/ 5266013 w 8931777"/>
              <a:gd name="connsiteY0" fmla="*/ 13828 h 6953471"/>
              <a:gd name="connsiteX1" fmla="*/ 8931777 w 8931777"/>
              <a:gd name="connsiteY1" fmla="*/ 6953471 h 6953471"/>
              <a:gd name="connsiteX2" fmla="*/ 116 w 8931777"/>
              <a:gd name="connsiteY2" fmla="*/ 6942418 h 6953471"/>
              <a:gd name="connsiteX3" fmla="*/ 0 w 8931777"/>
              <a:gd name="connsiteY3" fmla="*/ 0 h 6953471"/>
              <a:gd name="connsiteX4" fmla="*/ 5266013 w 8931777"/>
              <a:gd name="connsiteY4" fmla="*/ 13828 h 6953471"/>
              <a:gd name="connsiteX0" fmla="*/ 5266013 w 8931777"/>
              <a:gd name="connsiteY0" fmla="*/ 2891 h 6942534"/>
              <a:gd name="connsiteX1" fmla="*/ 8931777 w 8931777"/>
              <a:gd name="connsiteY1" fmla="*/ 6942534 h 6942534"/>
              <a:gd name="connsiteX2" fmla="*/ 116 w 8931777"/>
              <a:gd name="connsiteY2" fmla="*/ 6931481 h 6942534"/>
              <a:gd name="connsiteX3" fmla="*/ 0 w 8931777"/>
              <a:gd name="connsiteY3" fmla="*/ 0 h 6942534"/>
              <a:gd name="connsiteX4" fmla="*/ 5266013 w 8931777"/>
              <a:gd name="connsiteY4" fmla="*/ 2891 h 694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1777" h="6942534">
                <a:moveTo>
                  <a:pt x="5266013" y="2891"/>
                </a:moveTo>
                <a:lnTo>
                  <a:pt x="8931777" y="6942534"/>
                </a:lnTo>
                <a:lnTo>
                  <a:pt x="116" y="6931481"/>
                </a:lnTo>
                <a:cubicBezTo>
                  <a:pt x="77" y="4617342"/>
                  <a:pt x="39" y="2314139"/>
                  <a:pt x="0" y="0"/>
                </a:cubicBezTo>
                <a:lnTo>
                  <a:pt x="5266013" y="2891"/>
                </a:lnTo>
                <a:close/>
              </a:path>
            </a:pathLst>
          </a:custGeom>
          <a:solidFill>
            <a:srgbClr val="5146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514689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85" y="423416"/>
            <a:ext cx="3318337" cy="619053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472067" y="2356111"/>
            <a:ext cx="5181600" cy="1524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3733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472067" y="3953557"/>
            <a:ext cx="5849259" cy="124735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091230692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adence image1rgb 16x9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26" y="0"/>
            <a:ext cx="12159575" cy="6858000"/>
          </a:xfrm>
          <a:prstGeom prst="rect">
            <a:avLst/>
          </a:prstGeom>
        </p:spPr>
      </p:pic>
      <p:sp>
        <p:nvSpPr>
          <p:cNvPr id="7" name="Freeform 6"/>
          <p:cNvSpPr/>
          <p:nvPr userDrawn="1"/>
        </p:nvSpPr>
        <p:spPr bwMode="gray">
          <a:xfrm>
            <a:off x="-43701" y="-43316"/>
            <a:ext cx="8920916" cy="693409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768767 w 8888024"/>
              <a:gd name="connsiteY2" fmla="*/ 6942534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53589"/>
              <a:gd name="connsiteX1" fmla="*/ 8888024 w 8888024"/>
              <a:gd name="connsiteY1" fmla="*/ 6942534 h 6953589"/>
              <a:gd name="connsiteX2" fmla="*/ 0 w 8888024"/>
              <a:gd name="connsiteY2" fmla="*/ 6953589 h 6953589"/>
              <a:gd name="connsiteX3" fmla="*/ 0 w 8888024"/>
              <a:gd name="connsiteY3" fmla="*/ 0 h 6953589"/>
              <a:gd name="connsiteX4" fmla="*/ 5222260 w 8888024"/>
              <a:gd name="connsiteY4" fmla="*/ 2891 h 6953589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65897 w 8931661"/>
              <a:gd name="connsiteY0" fmla="*/ 2891 h 6942534"/>
              <a:gd name="connsiteX1" fmla="*/ 8931661 w 8931661"/>
              <a:gd name="connsiteY1" fmla="*/ 6942534 h 6942534"/>
              <a:gd name="connsiteX2" fmla="*/ 0 w 8931661"/>
              <a:gd name="connsiteY2" fmla="*/ 6931481 h 6942534"/>
              <a:gd name="connsiteX3" fmla="*/ 43637 w 8931661"/>
              <a:gd name="connsiteY3" fmla="*/ 0 h 6942534"/>
              <a:gd name="connsiteX4" fmla="*/ 5265897 w 8931661"/>
              <a:gd name="connsiteY4" fmla="*/ 2891 h 6942534"/>
              <a:gd name="connsiteX0" fmla="*/ 5266013 w 8931777"/>
              <a:gd name="connsiteY0" fmla="*/ 13828 h 6953471"/>
              <a:gd name="connsiteX1" fmla="*/ 8931777 w 8931777"/>
              <a:gd name="connsiteY1" fmla="*/ 6953471 h 6953471"/>
              <a:gd name="connsiteX2" fmla="*/ 116 w 8931777"/>
              <a:gd name="connsiteY2" fmla="*/ 6942418 h 6953471"/>
              <a:gd name="connsiteX3" fmla="*/ 0 w 8931777"/>
              <a:gd name="connsiteY3" fmla="*/ 0 h 6953471"/>
              <a:gd name="connsiteX4" fmla="*/ 5266013 w 8931777"/>
              <a:gd name="connsiteY4" fmla="*/ 13828 h 6953471"/>
              <a:gd name="connsiteX0" fmla="*/ 5266013 w 8931777"/>
              <a:gd name="connsiteY0" fmla="*/ 2891 h 6942534"/>
              <a:gd name="connsiteX1" fmla="*/ 8931777 w 8931777"/>
              <a:gd name="connsiteY1" fmla="*/ 6942534 h 6942534"/>
              <a:gd name="connsiteX2" fmla="*/ 116 w 8931777"/>
              <a:gd name="connsiteY2" fmla="*/ 6931481 h 6942534"/>
              <a:gd name="connsiteX3" fmla="*/ 0 w 8931777"/>
              <a:gd name="connsiteY3" fmla="*/ 0 h 6942534"/>
              <a:gd name="connsiteX4" fmla="*/ 5266013 w 8931777"/>
              <a:gd name="connsiteY4" fmla="*/ 2891 h 694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1777" h="6942534">
                <a:moveTo>
                  <a:pt x="5266013" y="2891"/>
                </a:moveTo>
                <a:lnTo>
                  <a:pt x="8931777" y="6942534"/>
                </a:lnTo>
                <a:lnTo>
                  <a:pt x="116" y="6931481"/>
                </a:lnTo>
                <a:cubicBezTo>
                  <a:pt x="77" y="4617342"/>
                  <a:pt x="39" y="2314139"/>
                  <a:pt x="0" y="0"/>
                </a:cubicBezTo>
                <a:lnTo>
                  <a:pt x="5266013" y="289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514689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85" y="423416"/>
            <a:ext cx="3318337" cy="619053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472067" y="2356111"/>
            <a:ext cx="5181600" cy="1524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3733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472067" y="3953557"/>
            <a:ext cx="5849259" cy="124735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224480190"/>
      </p:ext>
    </p:extLst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8" name="Freeform 7"/>
          <p:cNvSpPr/>
          <p:nvPr userDrawn="1"/>
        </p:nvSpPr>
        <p:spPr bwMode="gray">
          <a:xfrm>
            <a:off x="-43701" y="-43316"/>
            <a:ext cx="8920916" cy="693409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768767 w 8888024"/>
              <a:gd name="connsiteY2" fmla="*/ 6942534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53589"/>
              <a:gd name="connsiteX1" fmla="*/ 8888024 w 8888024"/>
              <a:gd name="connsiteY1" fmla="*/ 6942534 h 6953589"/>
              <a:gd name="connsiteX2" fmla="*/ 0 w 8888024"/>
              <a:gd name="connsiteY2" fmla="*/ 6953589 h 6953589"/>
              <a:gd name="connsiteX3" fmla="*/ 0 w 8888024"/>
              <a:gd name="connsiteY3" fmla="*/ 0 h 6953589"/>
              <a:gd name="connsiteX4" fmla="*/ 5222260 w 8888024"/>
              <a:gd name="connsiteY4" fmla="*/ 2891 h 6953589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65897 w 8931661"/>
              <a:gd name="connsiteY0" fmla="*/ 2891 h 6942534"/>
              <a:gd name="connsiteX1" fmla="*/ 8931661 w 8931661"/>
              <a:gd name="connsiteY1" fmla="*/ 6942534 h 6942534"/>
              <a:gd name="connsiteX2" fmla="*/ 0 w 8931661"/>
              <a:gd name="connsiteY2" fmla="*/ 6931481 h 6942534"/>
              <a:gd name="connsiteX3" fmla="*/ 43637 w 8931661"/>
              <a:gd name="connsiteY3" fmla="*/ 0 h 6942534"/>
              <a:gd name="connsiteX4" fmla="*/ 5265897 w 8931661"/>
              <a:gd name="connsiteY4" fmla="*/ 2891 h 6942534"/>
              <a:gd name="connsiteX0" fmla="*/ 5266013 w 8931777"/>
              <a:gd name="connsiteY0" fmla="*/ 13828 h 6953471"/>
              <a:gd name="connsiteX1" fmla="*/ 8931777 w 8931777"/>
              <a:gd name="connsiteY1" fmla="*/ 6953471 h 6953471"/>
              <a:gd name="connsiteX2" fmla="*/ 116 w 8931777"/>
              <a:gd name="connsiteY2" fmla="*/ 6942418 h 6953471"/>
              <a:gd name="connsiteX3" fmla="*/ 0 w 8931777"/>
              <a:gd name="connsiteY3" fmla="*/ 0 h 6953471"/>
              <a:gd name="connsiteX4" fmla="*/ 5266013 w 8931777"/>
              <a:gd name="connsiteY4" fmla="*/ 13828 h 6953471"/>
              <a:gd name="connsiteX0" fmla="*/ 5266013 w 8931777"/>
              <a:gd name="connsiteY0" fmla="*/ 2891 h 6942534"/>
              <a:gd name="connsiteX1" fmla="*/ 8931777 w 8931777"/>
              <a:gd name="connsiteY1" fmla="*/ 6942534 h 6942534"/>
              <a:gd name="connsiteX2" fmla="*/ 116 w 8931777"/>
              <a:gd name="connsiteY2" fmla="*/ 6931481 h 6942534"/>
              <a:gd name="connsiteX3" fmla="*/ 0 w 8931777"/>
              <a:gd name="connsiteY3" fmla="*/ 0 h 6942534"/>
              <a:gd name="connsiteX4" fmla="*/ 5266013 w 8931777"/>
              <a:gd name="connsiteY4" fmla="*/ 2891 h 694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1777" h="6942534">
                <a:moveTo>
                  <a:pt x="5266013" y="2891"/>
                </a:moveTo>
                <a:lnTo>
                  <a:pt x="8931777" y="6942534"/>
                </a:lnTo>
                <a:lnTo>
                  <a:pt x="116" y="6931481"/>
                </a:lnTo>
                <a:cubicBezTo>
                  <a:pt x="77" y="4617342"/>
                  <a:pt x="39" y="2314139"/>
                  <a:pt x="0" y="0"/>
                </a:cubicBezTo>
                <a:lnTo>
                  <a:pt x="5266013" y="289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85" y="423416"/>
            <a:ext cx="3318337" cy="619053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472067" y="2356111"/>
            <a:ext cx="5181600" cy="1524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3733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472067" y="3953557"/>
            <a:ext cx="5849259" cy="124735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55935842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adence Building16x9rgb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664"/>
          <a:stretch/>
        </p:blipFill>
        <p:spPr>
          <a:xfrm>
            <a:off x="3152999" y="0"/>
            <a:ext cx="9039003" cy="6858000"/>
          </a:xfrm>
          <a:prstGeom prst="rect">
            <a:avLst/>
          </a:prstGeom>
        </p:spPr>
      </p:pic>
      <p:sp>
        <p:nvSpPr>
          <p:cNvPr id="8" name="Freeform 7"/>
          <p:cNvSpPr/>
          <p:nvPr userDrawn="1"/>
        </p:nvSpPr>
        <p:spPr bwMode="gray">
          <a:xfrm>
            <a:off x="-43701" y="-43316"/>
            <a:ext cx="8920916" cy="693409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768767 w 8888024"/>
              <a:gd name="connsiteY2" fmla="*/ 6942534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53589"/>
              <a:gd name="connsiteX1" fmla="*/ 8888024 w 8888024"/>
              <a:gd name="connsiteY1" fmla="*/ 6942534 h 6953589"/>
              <a:gd name="connsiteX2" fmla="*/ 0 w 8888024"/>
              <a:gd name="connsiteY2" fmla="*/ 6953589 h 6953589"/>
              <a:gd name="connsiteX3" fmla="*/ 0 w 8888024"/>
              <a:gd name="connsiteY3" fmla="*/ 0 h 6953589"/>
              <a:gd name="connsiteX4" fmla="*/ 5222260 w 8888024"/>
              <a:gd name="connsiteY4" fmla="*/ 2891 h 6953589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65897 w 8931661"/>
              <a:gd name="connsiteY0" fmla="*/ 2891 h 6942534"/>
              <a:gd name="connsiteX1" fmla="*/ 8931661 w 8931661"/>
              <a:gd name="connsiteY1" fmla="*/ 6942534 h 6942534"/>
              <a:gd name="connsiteX2" fmla="*/ 0 w 8931661"/>
              <a:gd name="connsiteY2" fmla="*/ 6931481 h 6942534"/>
              <a:gd name="connsiteX3" fmla="*/ 43637 w 8931661"/>
              <a:gd name="connsiteY3" fmla="*/ 0 h 6942534"/>
              <a:gd name="connsiteX4" fmla="*/ 5265897 w 8931661"/>
              <a:gd name="connsiteY4" fmla="*/ 2891 h 6942534"/>
              <a:gd name="connsiteX0" fmla="*/ 5266013 w 8931777"/>
              <a:gd name="connsiteY0" fmla="*/ 13828 h 6953471"/>
              <a:gd name="connsiteX1" fmla="*/ 8931777 w 8931777"/>
              <a:gd name="connsiteY1" fmla="*/ 6953471 h 6953471"/>
              <a:gd name="connsiteX2" fmla="*/ 116 w 8931777"/>
              <a:gd name="connsiteY2" fmla="*/ 6942418 h 6953471"/>
              <a:gd name="connsiteX3" fmla="*/ 0 w 8931777"/>
              <a:gd name="connsiteY3" fmla="*/ 0 h 6953471"/>
              <a:gd name="connsiteX4" fmla="*/ 5266013 w 8931777"/>
              <a:gd name="connsiteY4" fmla="*/ 13828 h 6953471"/>
              <a:gd name="connsiteX0" fmla="*/ 5266013 w 8931777"/>
              <a:gd name="connsiteY0" fmla="*/ 2891 h 6942534"/>
              <a:gd name="connsiteX1" fmla="*/ 8931777 w 8931777"/>
              <a:gd name="connsiteY1" fmla="*/ 6942534 h 6942534"/>
              <a:gd name="connsiteX2" fmla="*/ 116 w 8931777"/>
              <a:gd name="connsiteY2" fmla="*/ 6931481 h 6942534"/>
              <a:gd name="connsiteX3" fmla="*/ 0 w 8931777"/>
              <a:gd name="connsiteY3" fmla="*/ 0 h 6942534"/>
              <a:gd name="connsiteX4" fmla="*/ 5266013 w 8931777"/>
              <a:gd name="connsiteY4" fmla="*/ 2891 h 694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1777" h="6942534">
                <a:moveTo>
                  <a:pt x="5266013" y="2891"/>
                </a:moveTo>
                <a:lnTo>
                  <a:pt x="8931777" y="6942534"/>
                </a:lnTo>
                <a:lnTo>
                  <a:pt x="116" y="6931481"/>
                </a:lnTo>
                <a:cubicBezTo>
                  <a:pt x="77" y="4617342"/>
                  <a:pt x="39" y="2314139"/>
                  <a:pt x="0" y="0"/>
                </a:cubicBezTo>
                <a:lnTo>
                  <a:pt x="5266013" y="289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85" y="423416"/>
            <a:ext cx="3318337" cy="619053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472067" y="2356111"/>
            <a:ext cx="5181600" cy="1524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3733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472067" y="3953557"/>
            <a:ext cx="5849259" cy="124735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863412977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adence image2rgb 16x9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26" y="0"/>
            <a:ext cx="12159575" cy="6858000"/>
          </a:xfrm>
          <a:prstGeom prst="rect">
            <a:avLst/>
          </a:prstGeom>
        </p:spPr>
      </p:pic>
      <p:sp>
        <p:nvSpPr>
          <p:cNvPr id="7" name="Freeform 6"/>
          <p:cNvSpPr/>
          <p:nvPr userDrawn="1"/>
        </p:nvSpPr>
        <p:spPr bwMode="gray">
          <a:xfrm>
            <a:off x="-43701" y="-43316"/>
            <a:ext cx="8920916" cy="693409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768767 w 8888024"/>
              <a:gd name="connsiteY2" fmla="*/ 6942534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53589"/>
              <a:gd name="connsiteX1" fmla="*/ 8888024 w 8888024"/>
              <a:gd name="connsiteY1" fmla="*/ 6942534 h 6953589"/>
              <a:gd name="connsiteX2" fmla="*/ 0 w 8888024"/>
              <a:gd name="connsiteY2" fmla="*/ 6953589 h 6953589"/>
              <a:gd name="connsiteX3" fmla="*/ 0 w 8888024"/>
              <a:gd name="connsiteY3" fmla="*/ 0 h 6953589"/>
              <a:gd name="connsiteX4" fmla="*/ 5222260 w 8888024"/>
              <a:gd name="connsiteY4" fmla="*/ 2891 h 6953589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65897 w 8931661"/>
              <a:gd name="connsiteY0" fmla="*/ 2891 h 6942534"/>
              <a:gd name="connsiteX1" fmla="*/ 8931661 w 8931661"/>
              <a:gd name="connsiteY1" fmla="*/ 6942534 h 6942534"/>
              <a:gd name="connsiteX2" fmla="*/ 0 w 8931661"/>
              <a:gd name="connsiteY2" fmla="*/ 6931481 h 6942534"/>
              <a:gd name="connsiteX3" fmla="*/ 43637 w 8931661"/>
              <a:gd name="connsiteY3" fmla="*/ 0 h 6942534"/>
              <a:gd name="connsiteX4" fmla="*/ 5265897 w 8931661"/>
              <a:gd name="connsiteY4" fmla="*/ 2891 h 6942534"/>
              <a:gd name="connsiteX0" fmla="*/ 5266013 w 8931777"/>
              <a:gd name="connsiteY0" fmla="*/ 13828 h 6953471"/>
              <a:gd name="connsiteX1" fmla="*/ 8931777 w 8931777"/>
              <a:gd name="connsiteY1" fmla="*/ 6953471 h 6953471"/>
              <a:gd name="connsiteX2" fmla="*/ 116 w 8931777"/>
              <a:gd name="connsiteY2" fmla="*/ 6942418 h 6953471"/>
              <a:gd name="connsiteX3" fmla="*/ 0 w 8931777"/>
              <a:gd name="connsiteY3" fmla="*/ 0 h 6953471"/>
              <a:gd name="connsiteX4" fmla="*/ 5266013 w 8931777"/>
              <a:gd name="connsiteY4" fmla="*/ 13828 h 6953471"/>
              <a:gd name="connsiteX0" fmla="*/ 5266013 w 8931777"/>
              <a:gd name="connsiteY0" fmla="*/ 2891 h 6942534"/>
              <a:gd name="connsiteX1" fmla="*/ 8931777 w 8931777"/>
              <a:gd name="connsiteY1" fmla="*/ 6942534 h 6942534"/>
              <a:gd name="connsiteX2" fmla="*/ 116 w 8931777"/>
              <a:gd name="connsiteY2" fmla="*/ 6931481 h 6942534"/>
              <a:gd name="connsiteX3" fmla="*/ 0 w 8931777"/>
              <a:gd name="connsiteY3" fmla="*/ 0 h 6942534"/>
              <a:gd name="connsiteX4" fmla="*/ 5266013 w 8931777"/>
              <a:gd name="connsiteY4" fmla="*/ 2891 h 694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1777" h="6942534">
                <a:moveTo>
                  <a:pt x="5266013" y="2891"/>
                </a:moveTo>
                <a:lnTo>
                  <a:pt x="8931777" y="6942534"/>
                </a:lnTo>
                <a:lnTo>
                  <a:pt x="116" y="6931481"/>
                </a:lnTo>
                <a:cubicBezTo>
                  <a:pt x="77" y="4617342"/>
                  <a:pt x="39" y="2314139"/>
                  <a:pt x="0" y="0"/>
                </a:cubicBezTo>
                <a:lnTo>
                  <a:pt x="5266013" y="289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85" y="423416"/>
            <a:ext cx="3318337" cy="619053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472067" y="2356111"/>
            <a:ext cx="5181600" cy="1524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3733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472067" y="3953557"/>
            <a:ext cx="5849259" cy="124735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658749234"/>
      </p:ext>
    </p:extLst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Lake Forest16x9rgb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26" y="0"/>
            <a:ext cx="12159575" cy="6858000"/>
          </a:xfrm>
          <a:prstGeom prst="rect">
            <a:avLst/>
          </a:prstGeom>
        </p:spPr>
      </p:pic>
      <p:sp>
        <p:nvSpPr>
          <p:cNvPr id="7" name="Freeform 6"/>
          <p:cNvSpPr/>
          <p:nvPr userDrawn="1"/>
        </p:nvSpPr>
        <p:spPr bwMode="gray">
          <a:xfrm>
            <a:off x="-43701" y="-43316"/>
            <a:ext cx="8920916" cy="693409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768767 w 8888024"/>
              <a:gd name="connsiteY2" fmla="*/ 6942534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53589"/>
              <a:gd name="connsiteX1" fmla="*/ 8888024 w 8888024"/>
              <a:gd name="connsiteY1" fmla="*/ 6942534 h 6953589"/>
              <a:gd name="connsiteX2" fmla="*/ 0 w 8888024"/>
              <a:gd name="connsiteY2" fmla="*/ 6953589 h 6953589"/>
              <a:gd name="connsiteX3" fmla="*/ 0 w 8888024"/>
              <a:gd name="connsiteY3" fmla="*/ 0 h 6953589"/>
              <a:gd name="connsiteX4" fmla="*/ 5222260 w 8888024"/>
              <a:gd name="connsiteY4" fmla="*/ 2891 h 6953589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65897 w 8931661"/>
              <a:gd name="connsiteY0" fmla="*/ 2891 h 6942534"/>
              <a:gd name="connsiteX1" fmla="*/ 8931661 w 8931661"/>
              <a:gd name="connsiteY1" fmla="*/ 6942534 h 6942534"/>
              <a:gd name="connsiteX2" fmla="*/ 0 w 8931661"/>
              <a:gd name="connsiteY2" fmla="*/ 6931481 h 6942534"/>
              <a:gd name="connsiteX3" fmla="*/ 43637 w 8931661"/>
              <a:gd name="connsiteY3" fmla="*/ 0 h 6942534"/>
              <a:gd name="connsiteX4" fmla="*/ 5265897 w 8931661"/>
              <a:gd name="connsiteY4" fmla="*/ 2891 h 6942534"/>
              <a:gd name="connsiteX0" fmla="*/ 5266013 w 8931777"/>
              <a:gd name="connsiteY0" fmla="*/ 13828 h 6953471"/>
              <a:gd name="connsiteX1" fmla="*/ 8931777 w 8931777"/>
              <a:gd name="connsiteY1" fmla="*/ 6953471 h 6953471"/>
              <a:gd name="connsiteX2" fmla="*/ 116 w 8931777"/>
              <a:gd name="connsiteY2" fmla="*/ 6942418 h 6953471"/>
              <a:gd name="connsiteX3" fmla="*/ 0 w 8931777"/>
              <a:gd name="connsiteY3" fmla="*/ 0 h 6953471"/>
              <a:gd name="connsiteX4" fmla="*/ 5266013 w 8931777"/>
              <a:gd name="connsiteY4" fmla="*/ 13828 h 6953471"/>
              <a:gd name="connsiteX0" fmla="*/ 5266013 w 8931777"/>
              <a:gd name="connsiteY0" fmla="*/ 2891 h 6942534"/>
              <a:gd name="connsiteX1" fmla="*/ 8931777 w 8931777"/>
              <a:gd name="connsiteY1" fmla="*/ 6942534 h 6942534"/>
              <a:gd name="connsiteX2" fmla="*/ 116 w 8931777"/>
              <a:gd name="connsiteY2" fmla="*/ 6931481 h 6942534"/>
              <a:gd name="connsiteX3" fmla="*/ 0 w 8931777"/>
              <a:gd name="connsiteY3" fmla="*/ 0 h 6942534"/>
              <a:gd name="connsiteX4" fmla="*/ 5266013 w 8931777"/>
              <a:gd name="connsiteY4" fmla="*/ 2891 h 694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1777" h="6942534">
                <a:moveTo>
                  <a:pt x="5266013" y="2891"/>
                </a:moveTo>
                <a:lnTo>
                  <a:pt x="8931777" y="6942534"/>
                </a:lnTo>
                <a:lnTo>
                  <a:pt x="116" y="6931481"/>
                </a:lnTo>
                <a:cubicBezTo>
                  <a:pt x="77" y="4617342"/>
                  <a:pt x="39" y="2314139"/>
                  <a:pt x="0" y="0"/>
                </a:cubicBezTo>
                <a:lnTo>
                  <a:pt x="5266013" y="289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85" y="423416"/>
            <a:ext cx="3318337" cy="619053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472067" y="2356111"/>
            <a:ext cx="5181600" cy="1524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3733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472067" y="3953557"/>
            <a:ext cx="5849259" cy="124735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766379443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Freeform 6"/>
          <p:cNvSpPr/>
          <p:nvPr userDrawn="1"/>
        </p:nvSpPr>
        <p:spPr bwMode="gray">
          <a:xfrm>
            <a:off x="-43701" y="-43316"/>
            <a:ext cx="8920916" cy="693409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768767 w 8888024"/>
              <a:gd name="connsiteY2" fmla="*/ 6942534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53589"/>
              <a:gd name="connsiteX1" fmla="*/ 8888024 w 8888024"/>
              <a:gd name="connsiteY1" fmla="*/ 6942534 h 6953589"/>
              <a:gd name="connsiteX2" fmla="*/ 0 w 8888024"/>
              <a:gd name="connsiteY2" fmla="*/ 6953589 h 6953589"/>
              <a:gd name="connsiteX3" fmla="*/ 0 w 8888024"/>
              <a:gd name="connsiteY3" fmla="*/ 0 h 6953589"/>
              <a:gd name="connsiteX4" fmla="*/ 5222260 w 8888024"/>
              <a:gd name="connsiteY4" fmla="*/ 2891 h 6953589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65897 w 8931661"/>
              <a:gd name="connsiteY0" fmla="*/ 2891 h 6942534"/>
              <a:gd name="connsiteX1" fmla="*/ 8931661 w 8931661"/>
              <a:gd name="connsiteY1" fmla="*/ 6942534 h 6942534"/>
              <a:gd name="connsiteX2" fmla="*/ 0 w 8931661"/>
              <a:gd name="connsiteY2" fmla="*/ 6931481 h 6942534"/>
              <a:gd name="connsiteX3" fmla="*/ 43637 w 8931661"/>
              <a:gd name="connsiteY3" fmla="*/ 0 h 6942534"/>
              <a:gd name="connsiteX4" fmla="*/ 5265897 w 8931661"/>
              <a:gd name="connsiteY4" fmla="*/ 2891 h 6942534"/>
              <a:gd name="connsiteX0" fmla="*/ 5266013 w 8931777"/>
              <a:gd name="connsiteY0" fmla="*/ 13828 h 6953471"/>
              <a:gd name="connsiteX1" fmla="*/ 8931777 w 8931777"/>
              <a:gd name="connsiteY1" fmla="*/ 6953471 h 6953471"/>
              <a:gd name="connsiteX2" fmla="*/ 116 w 8931777"/>
              <a:gd name="connsiteY2" fmla="*/ 6942418 h 6953471"/>
              <a:gd name="connsiteX3" fmla="*/ 0 w 8931777"/>
              <a:gd name="connsiteY3" fmla="*/ 0 h 6953471"/>
              <a:gd name="connsiteX4" fmla="*/ 5266013 w 8931777"/>
              <a:gd name="connsiteY4" fmla="*/ 13828 h 6953471"/>
              <a:gd name="connsiteX0" fmla="*/ 5266013 w 8931777"/>
              <a:gd name="connsiteY0" fmla="*/ 2891 h 6942534"/>
              <a:gd name="connsiteX1" fmla="*/ 8931777 w 8931777"/>
              <a:gd name="connsiteY1" fmla="*/ 6942534 h 6942534"/>
              <a:gd name="connsiteX2" fmla="*/ 116 w 8931777"/>
              <a:gd name="connsiteY2" fmla="*/ 6931481 h 6942534"/>
              <a:gd name="connsiteX3" fmla="*/ 0 w 8931777"/>
              <a:gd name="connsiteY3" fmla="*/ 0 h 6942534"/>
              <a:gd name="connsiteX4" fmla="*/ 5266013 w 8931777"/>
              <a:gd name="connsiteY4" fmla="*/ 2891 h 694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1777" h="6942534">
                <a:moveTo>
                  <a:pt x="5266013" y="2891"/>
                </a:moveTo>
                <a:lnTo>
                  <a:pt x="8931777" y="6942534"/>
                </a:lnTo>
                <a:lnTo>
                  <a:pt x="116" y="6931481"/>
                </a:lnTo>
                <a:cubicBezTo>
                  <a:pt x="77" y="4617342"/>
                  <a:pt x="39" y="2314139"/>
                  <a:pt x="0" y="0"/>
                </a:cubicBezTo>
                <a:lnTo>
                  <a:pt x="5266013" y="289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85" y="423416"/>
            <a:ext cx="3318337" cy="619053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472067" y="2356111"/>
            <a:ext cx="5181600" cy="1524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3733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472067" y="3953557"/>
            <a:ext cx="5849259" cy="124735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419848929"/>
      </p:ext>
    </p:extLst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Freeform 6"/>
          <p:cNvSpPr/>
          <p:nvPr userDrawn="1"/>
        </p:nvSpPr>
        <p:spPr bwMode="gray">
          <a:xfrm>
            <a:off x="-43701" y="-43316"/>
            <a:ext cx="8920916" cy="693409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768767 w 8888024"/>
              <a:gd name="connsiteY2" fmla="*/ 6942534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53589"/>
              <a:gd name="connsiteX1" fmla="*/ 8888024 w 8888024"/>
              <a:gd name="connsiteY1" fmla="*/ 6942534 h 6953589"/>
              <a:gd name="connsiteX2" fmla="*/ 0 w 8888024"/>
              <a:gd name="connsiteY2" fmla="*/ 6953589 h 6953589"/>
              <a:gd name="connsiteX3" fmla="*/ 0 w 8888024"/>
              <a:gd name="connsiteY3" fmla="*/ 0 h 6953589"/>
              <a:gd name="connsiteX4" fmla="*/ 5222260 w 8888024"/>
              <a:gd name="connsiteY4" fmla="*/ 2891 h 6953589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65897 w 8931661"/>
              <a:gd name="connsiteY0" fmla="*/ 2891 h 6942534"/>
              <a:gd name="connsiteX1" fmla="*/ 8931661 w 8931661"/>
              <a:gd name="connsiteY1" fmla="*/ 6942534 h 6942534"/>
              <a:gd name="connsiteX2" fmla="*/ 0 w 8931661"/>
              <a:gd name="connsiteY2" fmla="*/ 6931481 h 6942534"/>
              <a:gd name="connsiteX3" fmla="*/ 43637 w 8931661"/>
              <a:gd name="connsiteY3" fmla="*/ 0 h 6942534"/>
              <a:gd name="connsiteX4" fmla="*/ 5265897 w 8931661"/>
              <a:gd name="connsiteY4" fmla="*/ 2891 h 6942534"/>
              <a:gd name="connsiteX0" fmla="*/ 5266013 w 8931777"/>
              <a:gd name="connsiteY0" fmla="*/ 13828 h 6953471"/>
              <a:gd name="connsiteX1" fmla="*/ 8931777 w 8931777"/>
              <a:gd name="connsiteY1" fmla="*/ 6953471 h 6953471"/>
              <a:gd name="connsiteX2" fmla="*/ 116 w 8931777"/>
              <a:gd name="connsiteY2" fmla="*/ 6942418 h 6953471"/>
              <a:gd name="connsiteX3" fmla="*/ 0 w 8931777"/>
              <a:gd name="connsiteY3" fmla="*/ 0 h 6953471"/>
              <a:gd name="connsiteX4" fmla="*/ 5266013 w 8931777"/>
              <a:gd name="connsiteY4" fmla="*/ 13828 h 6953471"/>
              <a:gd name="connsiteX0" fmla="*/ 5266013 w 8931777"/>
              <a:gd name="connsiteY0" fmla="*/ 2891 h 6942534"/>
              <a:gd name="connsiteX1" fmla="*/ 8931777 w 8931777"/>
              <a:gd name="connsiteY1" fmla="*/ 6942534 h 6942534"/>
              <a:gd name="connsiteX2" fmla="*/ 116 w 8931777"/>
              <a:gd name="connsiteY2" fmla="*/ 6931481 h 6942534"/>
              <a:gd name="connsiteX3" fmla="*/ 0 w 8931777"/>
              <a:gd name="connsiteY3" fmla="*/ 0 h 6942534"/>
              <a:gd name="connsiteX4" fmla="*/ 5266013 w 8931777"/>
              <a:gd name="connsiteY4" fmla="*/ 2891 h 694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1777" h="6942534">
                <a:moveTo>
                  <a:pt x="5266013" y="2891"/>
                </a:moveTo>
                <a:lnTo>
                  <a:pt x="8931777" y="6942534"/>
                </a:lnTo>
                <a:lnTo>
                  <a:pt x="116" y="6931481"/>
                </a:lnTo>
                <a:cubicBezTo>
                  <a:pt x="77" y="4617342"/>
                  <a:pt x="39" y="2314139"/>
                  <a:pt x="0" y="0"/>
                </a:cubicBezTo>
                <a:lnTo>
                  <a:pt x="5266013" y="289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85" y="423416"/>
            <a:ext cx="3318337" cy="619053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472067" y="2356111"/>
            <a:ext cx="5181600" cy="1524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3733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472067" y="3953557"/>
            <a:ext cx="5849259" cy="124735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31549205"/>
      </p:ext>
    </p:extLst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Your Photo">
    <p:bg>
      <p:bgPr>
        <a:gradFill flip="none" rotWithShape="1">
          <a:gsLst>
            <a:gs pos="0">
              <a:schemeClr val="tx2"/>
            </a:gs>
            <a:gs pos="100000">
              <a:schemeClr val="accent1"/>
            </a:gs>
          </a:gsLst>
          <a:lin ang="1452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12293600" y="1169739"/>
            <a:ext cx="2189949" cy="4316661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600" spc="-67" dirty="0">
                <a:solidFill>
                  <a:schemeClr val="bg1"/>
                </a:solidFill>
              </a:rPr>
              <a:t>How to put in your own Photo:</a:t>
            </a:r>
          </a:p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600" spc="-67" dirty="0">
                <a:solidFill>
                  <a:schemeClr val="bg1"/>
                </a:solidFill>
              </a:rPr>
              <a:t>Go to ‘View-Slide Master’</a:t>
            </a:r>
          </a:p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600" spc="-67" dirty="0">
                <a:solidFill>
                  <a:schemeClr val="bg1"/>
                </a:solidFill>
              </a:rPr>
              <a:t>Go to ‘Insert-Picture’</a:t>
            </a:r>
          </a:p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600" spc="-67" dirty="0">
                <a:solidFill>
                  <a:schemeClr val="bg1"/>
                </a:solidFill>
              </a:rPr>
              <a:t>Browse to the</a:t>
            </a:r>
            <a:r>
              <a:rPr lang="en-US" sz="1600" spc="-67" baseline="0" dirty="0">
                <a:solidFill>
                  <a:schemeClr val="bg1"/>
                </a:solidFill>
              </a:rPr>
              <a:t> image you would like to place. Image should be 1024x768, 1200x900, or other 4:3 aspect ratio</a:t>
            </a:r>
          </a:p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600" spc="-67" dirty="0">
                <a:solidFill>
                  <a:schemeClr val="bg1"/>
                </a:solidFill>
              </a:rPr>
              <a:t>Select image and click OK</a:t>
            </a:r>
          </a:p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600" spc="-67" dirty="0">
                <a:solidFill>
                  <a:schemeClr val="bg1"/>
                </a:solidFill>
              </a:rPr>
              <a:t>Scale to full screen size if necessary.</a:t>
            </a:r>
          </a:p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600" spc="-67" dirty="0">
                <a:solidFill>
                  <a:schemeClr val="bg1"/>
                </a:solidFill>
              </a:rPr>
              <a:t>Click image, go</a:t>
            </a:r>
            <a:r>
              <a:rPr lang="en-US" sz="1600" spc="-67" baseline="0" dirty="0">
                <a:solidFill>
                  <a:schemeClr val="bg1"/>
                </a:solidFill>
              </a:rPr>
              <a:t> to ‘Format-</a:t>
            </a:r>
            <a:r>
              <a:rPr lang="en-US" sz="1600" spc="-67" dirty="0">
                <a:solidFill>
                  <a:schemeClr val="bg1"/>
                </a:solidFill>
              </a:rPr>
              <a:t>Send to Back’</a:t>
            </a:r>
          </a:p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600" spc="-67" dirty="0">
                <a:solidFill>
                  <a:schemeClr val="bg1"/>
                </a:solidFill>
              </a:rPr>
              <a:t>Go to ‘View-Normal’ to return to slides</a:t>
            </a: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-43701" y="-43316"/>
            <a:ext cx="8920916" cy="693409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768767 w 8888024"/>
              <a:gd name="connsiteY2" fmla="*/ 6942534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53589"/>
              <a:gd name="connsiteX1" fmla="*/ 8888024 w 8888024"/>
              <a:gd name="connsiteY1" fmla="*/ 6942534 h 6953589"/>
              <a:gd name="connsiteX2" fmla="*/ 0 w 8888024"/>
              <a:gd name="connsiteY2" fmla="*/ 6953589 h 6953589"/>
              <a:gd name="connsiteX3" fmla="*/ 0 w 8888024"/>
              <a:gd name="connsiteY3" fmla="*/ 0 h 6953589"/>
              <a:gd name="connsiteX4" fmla="*/ 5222260 w 8888024"/>
              <a:gd name="connsiteY4" fmla="*/ 2891 h 6953589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22260 w 8888024"/>
              <a:gd name="connsiteY0" fmla="*/ 2891 h 6942534"/>
              <a:gd name="connsiteX1" fmla="*/ 8888024 w 8888024"/>
              <a:gd name="connsiteY1" fmla="*/ 6942534 h 6942534"/>
              <a:gd name="connsiteX2" fmla="*/ 11054 w 8888024"/>
              <a:gd name="connsiteY2" fmla="*/ 6931480 h 6942534"/>
              <a:gd name="connsiteX3" fmla="*/ 0 w 8888024"/>
              <a:gd name="connsiteY3" fmla="*/ 0 h 6942534"/>
              <a:gd name="connsiteX4" fmla="*/ 5222260 w 8888024"/>
              <a:gd name="connsiteY4" fmla="*/ 2891 h 6942534"/>
              <a:gd name="connsiteX0" fmla="*/ 5265897 w 8931661"/>
              <a:gd name="connsiteY0" fmla="*/ 2891 h 6942534"/>
              <a:gd name="connsiteX1" fmla="*/ 8931661 w 8931661"/>
              <a:gd name="connsiteY1" fmla="*/ 6942534 h 6942534"/>
              <a:gd name="connsiteX2" fmla="*/ 0 w 8931661"/>
              <a:gd name="connsiteY2" fmla="*/ 6931481 h 6942534"/>
              <a:gd name="connsiteX3" fmla="*/ 43637 w 8931661"/>
              <a:gd name="connsiteY3" fmla="*/ 0 h 6942534"/>
              <a:gd name="connsiteX4" fmla="*/ 5265897 w 8931661"/>
              <a:gd name="connsiteY4" fmla="*/ 2891 h 6942534"/>
              <a:gd name="connsiteX0" fmla="*/ 5266013 w 8931777"/>
              <a:gd name="connsiteY0" fmla="*/ 13828 h 6953471"/>
              <a:gd name="connsiteX1" fmla="*/ 8931777 w 8931777"/>
              <a:gd name="connsiteY1" fmla="*/ 6953471 h 6953471"/>
              <a:gd name="connsiteX2" fmla="*/ 116 w 8931777"/>
              <a:gd name="connsiteY2" fmla="*/ 6942418 h 6953471"/>
              <a:gd name="connsiteX3" fmla="*/ 0 w 8931777"/>
              <a:gd name="connsiteY3" fmla="*/ 0 h 6953471"/>
              <a:gd name="connsiteX4" fmla="*/ 5266013 w 8931777"/>
              <a:gd name="connsiteY4" fmla="*/ 13828 h 6953471"/>
              <a:gd name="connsiteX0" fmla="*/ 5266013 w 8931777"/>
              <a:gd name="connsiteY0" fmla="*/ 2891 h 6942534"/>
              <a:gd name="connsiteX1" fmla="*/ 8931777 w 8931777"/>
              <a:gd name="connsiteY1" fmla="*/ 6942534 h 6942534"/>
              <a:gd name="connsiteX2" fmla="*/ 116 w 8931777"/>
              <a:gd name="connsiteY2" fmla="*/ 6931481 h 6942534"/>
              <a:gd name="connsiteX3" fmla="*/ 0 w 8931777"/>
              <a:gd name="connsiteY3" fmla="*/ 0 h 6942534"/>
              <a:gd name="connsiteX4" fmla="*/ 5266013 w 8931777"/>
              <a:gd name="connsiteY4" fmla="*/ 2891 h 694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1777" h="6942534">
                <a:moveTo>
                  <a:pt x="5266013" y="2891"/>
                </a:moveTo>
                <a:lnTo>
                  <a:pt x="8931777" y="6942534"/>
                </a:lnTo>
                <a:lnTo>
                  <a:pt x="116" y="6931481"/>
                </a:lnTo>
                <a:cubicBezTo>
                  <a:pt x="77" y="4617342"/>
                  <a:pt x="39" y="2314139"/>
                  <a:pt x="0" y="0"/>
                </a:cubicBezTo>
                <a:lnTo>
                  <a:pt x="5266013" y="289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85" y="423416"/>
            <a:ext cx="3318337" cy="619053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472067" y="2356111"/>
            <a:ext cx="5181600" cy="1524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3733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472067" y="3953557"/>
            <a:ext cx="5849259" cy="124735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560523735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464743" y="169881"/>
            <a:ext cx="9573685" cy="1016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1241840" y="2035613"/>
            <a:ext cx="9796587" cy="39687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464742" y="1195843"/>
            <a:ext cx="9573684" cy="60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667" spc="-107" baseline="0">
                <a:solidFill>
                  <a:schemeClr val="accent2"/>
                </a:solidFill>
              </a:defRPr>
            </a:lvl1pPr>
            <a:lvl2pPr marL="275160" indent="0">
              <a:buNone/>
              <a:defRPr/>
            </a:lvl2pPr>
            <a:lvl3pPr marL="609585" indent="0">
              <a:buNone/>
              <a:defRPr/>
            </a:lvl3pPr>
            <a:lvl4pPr marL="842412" indent="0">
              <a:buNone/>
              <a:defRPr/>
            </a:lvl4pPr>
            <a:lvl5pPr marL="1073123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14"/>
          </p:nvPr>
        </p:nvSpPr>
        <p:spPr>
          <a:xfrm>
            <a:off x="3133344" y="6436626"/>
            <a:ext cx="1133856" cy="224367"/>
          </a:xfrm>
          <a:prstGeom prst="rect">
            <a:avLst/>
          </a:prstGeom>
        </p:spPr>
        <p:txBody>
          <a:bodyPr/>
          <a:lstStyle/>
          <a:p>
            <a:fld id="{4221F580-C0C7-FE4A-BB06-8E6F259722CB}" type="datetime1">
              <a:rPr lang="en-US" smtClean="0"/>
              <a:t>6/1/2026</a:t>
            </a:fld>
            <a:endParaRPr lang="en-US" dirty="0"/>
          </a:p>
        </p:txBody>
      </p:sp>
      <p:sp>
        <p:nvSpPr>
          <p:cNvPr id="16" name="Footer Placeholder 12"/>
          <p:cNvSpPr>
            <a:spLocks noGrp="1"/>
          </p:cNvSpPr>
          <p:nvPr>
            <p:ph type="ftr" sz="quarter" idx="15"/>
          </p:nvPr>
        </p:nvSpPr>
        <p:spPr>
          <a:xfrm>
            <a:off x="4162659" y="6374244"/>
            <a:ext cx="6908800" cy="30835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605F62"/>
                </a:solidFill>
              </a:rPr>
              <a:t>Presentation or Section Title</a:t>
            </a:r>
          </a:p>
        </p:txBody>
      </p:sp>
      <p:sp>
        <p:nvSpPr>
          <p:cNvPr id="17" name="Slide Number Placeholder 13"/>
          <p:cNvSpPr>
            <a:spLocks noGrp="1"/>
          </p:cNvSpPr>
          <p:nvPr>
            <p:ph type="sldNum" sz="quarter" idx="16"/>
          </p:nvPr>
        </p:nvSpPr>
        <p:spPr>
          <a:xfrm>
            <a:off x="11074399" y="6374245"/>
            <a:ext cx="462327" cy="308355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38140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spTree>
      <p:nvGrpSpPr>
        <p:cNvPr id="1" name="Shape 10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29" name="Google Shape;10029;p14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30" name="Google Shape;10030;p14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31" name="Google Shape;10031;p14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32" name="Google Shape;10032;p14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33" name="Google Shape;10033;p14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034" name="Google Shape;10034;p14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35" name="Google Shape;10035;p14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4743" y="169881"/>
            <a:ext cx="9573685" cy="1016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"/>
          </p:nvPr>
        </p:nvSpPr>
        <p:spPr>
          <a:xfrm>
            <a:off x="1241841" y="2035614"/>
            <a:ext cx="4769503" cy="3968748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464741" y="1195843"/>
            <a:ext cx="9573685" cy="60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667" spc="-107" baseline="0">
                <a:solidFill>
                  <a:schemeClr val="accent2"/>
                </a:solidFill>
              </a:defRPr>
            </a:lvl1pPr>
            <a:lvl2pPr marL="275160" indent="0">
              <a:buNone/>
              <a:defRPr/>
            </a:lvl2pPr>
            <a:lvl3pPr marL="609585" indent="0">
              <a:buNone/>
              <a:defRPr/>
            </a:lvl3pPr>
            <a:lvl4pPr marL="842412" indent="0">
              <a:buNone/>
              <a:defRPr/>
            </a:lvl4pPr>
            <a:lvl5pPr marL="1073123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16" name="Date Placeholder 11"/>
          <p:cNvSpPr>
            <a:spLocks noGrp="1"/>
          </p:cNvSpPr>
          <p:nvPr>
            <p:ph type="dt" sz="half" idx="14"/>
          </p:nvPr>
        </p:nvSpPr>
        <p:spPr>
          <a:xfrm>
            <a:off x="3133344" y="6436626"/>
            <a:ext cx="1133856" cy="224367"/>
          </a:xfrm>
          <a:prstGeom prst="rect">
            <a:avLst/>
          </a:prstGeom>
        </p:spPr>
        <p:txBody>
          <a:bodyPr/>
          <a:lstStyle/>
          <a:p>
            <a:fld id="{B62F187D-5CCE-2540-89F0-172D7E4DA3AC}" type="datetime1">
              <a:rPr lang="en-US" smtClean="0"/>
              <a:t>6/1/2026</a:t>
            </a:fld>
            <a:endParaRPr lang="en-US" dirty="0"/>
          </a:p>
        </p:txBody>
      </p:sp>
      <p:sp>
        <p:nvSpPr>
          <p:cNvPr id="17" name="Footer Placeholder 12"/>
          <p:cNvSpPr>
            <a:spLocks noGrp="1"/>
          </p:cNvSpPr>
          <p:nvPr>
            <p:ph type="ftr" sz="quarter" idx="15"/>
          </p:nvPr>
        </p:nvSpPr>
        <p:spPr>
          <a:xfrm>
            <a:off x="4162659" y="6374244"/>
            <a:ext cx="6908800" cy="30835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605F62"/>
                </a:solidFill>
              </a:rPr>
              <a:t>Presentation or Section Title</a:t>
            </a:r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18" name="Slide Number Placeholder 13"/>
          <p:cNvSpPr>
            <a:spLocks noGrp="1"/>
          </p:cNvSpPr>
          <p:nvPr>
            <p:ph type="sldNum" sz="quarter" idx="16"/>
          </p:nvPr>
        </p:nvSpPr>
        <p:spPr>
          <a:xfrm>
            <a:off x="11074399" y="6374245"/>
            <a:ext cx="462327" cy="308355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17"/>
          </p:nvPr>
        </p:nvSpPr>
        <p:spPr>
          <a:xfrm>
            <a:off x="6261111" y="2032809"/>
            <a:ext cx="4777316" cy="397155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8685608"/>
      </p:ext>
    </p:extLst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half" idx="18"/>
          </p:nvPr>
        </p:nvSpPr>
        <p:spPr>
          <a:xfrm>
            <a:off x="1243326" y="2399681"/>
            <a:ext cx="4782825" cy="3596215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464743" y="169881"/>
            <a:ext cx="9573685" cy="101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1476553" y="2031618"/>
            <a:ext cx="4549607" cy="393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7" b="0">
                <a:solidFill>
                  <a:schemeClr val="tx2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464741" y="1195843"/>
            <a:ext cx="9573685" cy="60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667" spc="-107" baseline="0">
                <a:solidFill>
                  <a:schemeClr val="accent2"/>
                </a:solidFill>
              </a:defRPr>
            </a:lvl1pPr>
            <a:lvl2pPr marL="275160" indent="0">
              <a:buNone/>
              <a:defRPr/>
            </a:lvl2pPr>
            <a:lvl3pPr marL="609585" indent="0">
              <a:buNone/>
              <a:defRPr/>
            </a:lvl3pPr>
            <a:lvl4pPr marL="842412" indent="0">
              <a:buNone/>
              <a:defRPr/>
            </a:lvl4pPr>
            <a:lvl5pPr marL="1073123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20" name="Date Placeholder 11"/>
          <p:cNvSpPr>
            <a:spLocks noGrp="1"/>
          </p:cNvSpPr>
          <p:nvPr>
            <p:ph type="dt" sz="half" idx="14"/>
          </p:nvPr>
        </p:nvSpPr>
        <p:spPr>
          <a:xfrm>
            <a:off x="3133344" y="6436626"/>
            <a:ext cx="1133856" cy="224367"/>
          </a:xfrm>
          <a:prstGeom prst="rect">
            <a:avLst/>
          </a:prstGeom>
        </p:spPr>
        <p:txBody>
          <a:bodyPr/>
          <a:lstStyle/>
          <a:p>
            <a:fld id="{7390B150-5DE9-D249-9EDB-A4FEB84366A7}" type="datetime1">
              <a:rPr lang="en-US" smtClean="0"/>
              <a:t>6/1/2026</a:t>
            </a:fld>
            <a:endParaRPr lang="en-US" dirty="0"/>
          </a:p>
        </p:txBody>
      </p:sp>
      <p:sp>
        <p:nvSpPr>
          <p:cNvPr id="21" name="Footer Placeholder 12"/>
          <p:cNvSpPr>
            <a:spLocks noGrp="1"/>
          </p:cNvSpPr>
          <p:nvPr>
            <p:ph type="ftr" sz="quarter" idx="15"/>
          </p:nvPr>
        </p:nvSpPr>
        <p:spPr>
          <a:xfrm>
            <a:off x="4162659" y="6374244"/>
            <a:ext cx="6908800" cy="30835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605F62"/>
                </a:solidFill>
              </a:rPr>
              <a:t>Presentation or Section Title</a:t>
            </a:r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22" name="Slide Number Placeholder 13"/>
          <p:cNvSpPr>
            <a:spLocks noGrp="1"/>
          </p:cNvSpPr>
          <p:nvPr>
            <p:ph type="sldNum" sz="quarter" idx="16"/>
          </p:nvPr>
        </p:nvSpPr>
        <p:spPr>
          <a:xfrm>
            <a:off x="11074399" y="6374245"/>
            <a:ext cx="462327" cy="308355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9"/>
          </p:nvPr>
        </p:nvSpPr>
        <p:spPr>
          <a:xfrm>
            <a:off x="6251352" y="2399681"/>
            <a:ext cx="4782825" cy="3596215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20"/>
          </p:nvPr>
        </p:nvSpPr>
        <p:spPr>
          <a:xfrm>
            <a:off x="6484578" y="2031618"/>
            <a:ext cx="4549607" cy="393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7" b="0">
                <a:solidFill>
                  <a:schemeClr val="tx2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5001020"/>
      </p:ext>
    </p:extLst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/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464743" y="169881"/>
            <a:ext cx="9573685" cy="10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1474419" y="4198076"/>
            <a:ext cx="4551741" cy="46329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7" b="0">
                <a:solidFill>
                  <a:srgbClr val="6638B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2"/>
          </p:nvPr>
        </p:nvSpPr>
        <p:spPr>
          <a:xfrm>
            <a:off x="1473209" y="4558198"/>
            <a:ext cx="4552951" cy="141917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indent="0">
              <a:buNone/>
              <a:defRPr lang="en-US" smtClean="0"/>
            </a:lvl1pPr>
            <a:lvl2pPr marL="275160" indent="0">
              <a:buNone/>
              <a:defRPr lang="en-US" smtClean="0"/>
            </a:lvl2pPr>
            <a:lvl3pPr marL="609585" indent="0">
              <a:buNone/>
              <a:defRPr lang="en-US" smtClean="0"/>
            </a:lvl3pPr>
            <a:lvl4pPr marL="842412" indent="0">
              <a:buNone/>
              <a:defRPr lang="en-US" smtClean="0"/>
            </a:lvl4pPr>
            <a:lvl5pPr marL="1073123" indent="0">
              <a:buNone/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464743" y="1195843"/>
            <a:ext cx="9573684" cy="60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667" spc="-107" baseline="0">
                <a:solidFill>
                  <a:schemeClr val="accent2"/>
                </a:solidFill>
              </a:defRPr>
            </a:lvl1pPr>
            <a:lvl2pPr marL="275160" indent="0">
              <a:buNone/>
              <a:defRPr/>
            </a:lvl2pPr>
            <a:lvl3pPr marL="609585" indent="0">
              <a:buNone/>
              <a:defRPr/>
            </a:lvl3pPr>
            <a:lvl4pPr marL="842412" indent="0">
              <a:buNone/>
              <a:defRPr/>
            </a:lvl4pPr>
            <a:lvl5pPr marL="1073123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23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1477434" y="2035612"/>
            <a:ext cx="4548727" cy="20617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5" name="Date Placeholder 11"/>
          <p:cNvSpPr>
            <a:spLocks noGrp="1"/>
          </p:cNvSpPr>
          <p:nvPr>
            <p:ph type="dt" sz="half" idx="16"/>
          </p:nvPr>
        </p:nvSpPr>
        <p:spPr>
          <a:xfrm>
            <a:off x="3133344" y="6436626"/>
            <a:ext cx="1133856" cy="224367"/>
          </a:xfrm>
          <a:prstGeom prst="rect">
            <a:avLst/>
          </a:prstGeom>
        </p:spPr>
        <p:txBody>
          <a:bodyPr/>
          <a:lstStyle/>
          <a:p>
            <a:fld id="{482CC369-25CA-A140-8CA0-FF7FC94DB54C}" type="datetime1">
              <a:rPr lang="en-US" smtClean="0"/>
              <a:t>6/1/2026</a:t>
            </a:fld>
            <a:endParaRPr lang="en-US" dirty="0"/>
          </a:p>
        </p:txBody>
      </p:sp>
      <p:sp>
        <p:nvSpPr>
          <p:cNvPr id="26" name="Footer Placeholder 12"/>
          <p:cNvSpPr>
            <a:spLocks noGrp="1"/>
          </p:cNvSpPr>
          <p:nvPr>
            <p:ph type="ftr" sz="quarter" idx="17"/>
          </p:nvPr>
        </p:nvSpPr>
        <p:spPr>
          <a:xfrm>
            <a:off x="4162659" y="6374244"/>
            <a:ext cx="6908800" cy="30835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605F62"/>
                </a:solidFill>
              </a:rPr>
              <a:t>Presentation or Section Title</a:t>
            </a:r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27" name="Slide Number Placeholder 13"/>
          <p:cNvSpPr>
            <a:spLocks noGrp="1"/>
          </p:cNvSpPr>
          <p:nvPr>
            <p:ph type="sldNum" sz="quarter" idx="18"/>
          </p:nvPr>
        </p:nvSpPr>
        <p:spPr>
          <a:xfrm>
            <a:off x="11074399" y="6374245"/>
            <a:ext cx="462327" cy="308355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9"/>
          </p:nvPr>
        </p:nvSpPr>
        <p:spPr>
          <a:xfrm>
            <a:off x="6486678" y="4198076"/>
            <a:ext cx="4551741" cy="46329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7" b="0">
                <a:solidFill>
                  <a:schemeClr val="tx2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0"/>
          </p:nvPr>
        </p:nvSpPr>
        <p:spPr>
          <a:xfrm>
            <a:off x="6485467" y="4558198"/>
            <a:ext cx="4552951" cy="141917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indent="0">
              <a:buNone/>
              <a:defRPr lang="en-US" smtClean="0"/>
            </a:lvl1pPr>
            <a:lvl2pPr marL="275160" indent="0">
              <a:buNone/>
              <a:defRPr lang="en-US" smtClean="0"/>
            </a:lvl2pPr>
            <a:lvl3pPr marL="609585" indent="0">
              <a:buNone/>
              <a:defRPr lang="en-US" smtClean="0"/>
            </a:lvl3pPr>
            <a:lvl4pPr marL="842412" indent="0">
              <a:buNone/>
              <a:defRPr lang="en-US" smtClean="0"/>
            </a:lvl4pPr>
            <a:lvl5pPr marL="1073123" indent="0">
              <a:buNone/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21" hasCustomPrompt="1"/>
          </p:nvPr>
        </p:nvSpPr>
        <p:spPr>
          <a:xfrm>
            <a:off x="6489693" y="2035612"/>
            <a:ext cx="4548727" cy="20617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253660193"/>
      </p:ext>
    </p:extLst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cked Two Content +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11"/>
          <p:cNvSpPr>
            <a:spLocks noGrp="1"/>
          </p:cNvSpPr>
          <p:nvPr>
            <p:ph type="dt" sz="half" idx="22"/>
          </p:nvPr>
        </p:nvSpPr>
        <p:spPr>
          <a:xfrm>
            <a:off x="3133344" y="6436626"/>
            <a:ext cx="1133856" cy="224367"/>
          </a:xfrm>
          <a:prstGeom prst="rect">
            <a:avLst/>
          </a:prstGeom>
        </p:spPr>
        <p:txBody>
          <a:bodyPr/>
          <a:lstStyle/>
          <a:p>
            <a:fld id="{D84B06E5-F86A-B54A-BD79-1396288F3124}" type="datetime1">
              <a:rPr lang="en-US" smtClean="0"/>
              <a:t>6/1/2026</a:t>
            </a:fld>
            <a:endParaRPr lang="en-US" dirty="0"/>
          </a:p>
        </p:txBody>
      </p:sp>
      <p:sp>
        <p:nvSpPr>
          <p:cNvPr id="24" name="Footer Placeholder 12"/>
          <p:cNvSpPr>
            <a:spLocks noGrp="1"/>
          </p:cNvSpPr>
          <p:nvPr>
            <p:ph type="ftr" sz="quarter" idx="23"/>
          </p:nvPr>
        </p:nvSpPr>
        <p:spPr>
          <a:xfrm>
            <a:off x="4162659" y="6374244"/>
            <a:ext cx="6908800" cy="30835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605F62"/>
                </a:solidFill>
              </a:rPr>
              <a:t>Presentation or Section Title</a:t>
            </a:r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25" name="Slide Number Placeholder 13"/>
          <p:cNvSpPr>
            <a:spLocks noGrp="1"/>
          </p:cNvSpPr>
          <p:nvPr>
            <p:ph type="sldNum" sz="quarter" idx="16"/>
          </p:nvPr>
        </p:nvSpPr>
        <p:spPr>
          <a:xfrm>
            <a:off x="11074399" y="6374245"/>
            <a:ext cx="462327" cy="308355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sz="half" idx="24" hasCustomPrompt="1"/>
          </p:nvPr>
        </p:nvSpPr>
        <p:spPr>
          <a:xfrm>
            <a:off x="6926893" y="2032622"/>
            <a:ext cx="5265108" cy="3961777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indent="0">
              <a:buNone/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Placeholder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464743" y="169881"/>
            <a:ext cx="9573685" cy="101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464743" y="1195843"/>
            <a:ext cx="9573684" cy="60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667" spc="-107" baseline="0">
                <a:solidFill>
                  <a:schemeClr val="accent2"/>
                </a:solidFill>
              </a:defRPr>
            </a:lvl1pPr>
            <a:lvl2pPr marL="275160" indent="0">
              <a:buNone/>
              <a:defRPr/>
            </a:lvl2pPr>
            <a:lvl3pPr marL="609585" indent="0">
              <a:buNone/>
              <a:defRPr/>
            </a:lvl3pPr>
            <a:lvl4pPr marL="842412" indent="0">
              <a:buNone/>
              <a:defRPr/>
            </a:lvl4pPr>
            <a:lvl5pPr marL="1073123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1243325" y="2399681"/>
            <a:ext cx="5242141" cy="1450537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1476552" y="2031618"/>
            <a:ext cx="5008915" cy="393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7" b="0">
                <a:solidFill>
                  <a:schemeClr val="tx2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25"/>
          </p:nvPr>
        </p:nvSpPr>
        <p:spPr>
          <a:xfrm>
            <a:off x="1243325" y="4401798"/>
            <a:ext cx="5242141" cy="1450537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6"/>
          </p:nvPr>
        </p:nvSpPr>
        <p:spPr>
          <a:xfrm>
            <a:off x="1476552" y="4033736"/>
            <a:ext cx="5008915" cy="393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7" b="0">
                <a:solidFill>
                  <a:schemeClr val="tx2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9819486"/>
      </p:ext>
    </p:extLst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Facts + Side Images">
    <p:bg>
      <p:bgPr>
        <a:gradFill flip="none" rotWithShape="1">
          <a:gsLst>
            <a:gs pos="0">
              <a:srgbClr val="514689"/>
            </a:gs>
            <a:gs pos="100000">
              <a:schemeClr val="accent1"/>
            </a:gs>
          </a:gsLst>
          <a:lin ang="1452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>
          <a:xfrm>
            <a:off x="1" y="-67715"/>
            <a:ext cx="4044076" cy="6998555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22311 w 241956"/>
              <a:gd name="connsiteY3" fmla="*/ 380776 h 381336"/>
              <a:gd name="connsiteX4" fmla="*/ 0 w 241956"/>
              <a:gd name="connsiteY4" fmla="*/ 231 h 381336"/>
              <a:gd name="connsiteX0" fmla="*/ 0 w 241956"/>
              <a:gd name="connsiteY0" fmla="*/ 231 h 381687"/>
              <a:gd name="connsiteX1" fmla="*/ 41468 w 241956"/>
              <a:gd name="connsiteY1" fmla="*/ 0 h 381687"/>
              <a:gd name="connsiteX2" fmla="*/ 241956 w 241956"/>
              <a:gd name="connsiteY2" fmla="*/ 381336 h 381687"/>
              <a:gd name="connsiteX3" fmla="*/ 21400 w 241956"/>
              <a:gd name="connsiteY3" fmla="*/ 381687 h 381687"/>
              <a:gd name="connsiteX4" fmla="*/ 0 w 2419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556" h="381687">
                <a:moveTo>
                  <a:pt x="0" y="231"/>
                </a:moveTo>
                <a:lnTo>
                  <a:pt x="20068" y="0"/>
                </a:lnTo>
                <a:lnTo>
                  <a:pt x="220556" y="381336"/>
                </a:lnTo>
                <a:lnTo>
                  <a:pt x="0" y="381687"/>
                </a:lnTo>
                <a:lnTo>
                  <a:pt x="0" y="23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kern="1200" dirty="0">
                <a:solidFill>
                  <a:schemeClr val="tx2"/>
                </a:solidFill>
              </a:rPr>
              <a:t>            </a:t>
            </a:r>
          </a:p>
        </p:txBody>
      </p:sp>
      <p:sp>
        <p:nvSpPr>
          <p:cNvPr id="17" name="Picture Placehold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872565" y="2033933"/>
            <a:ext cx="2946400" cy="396046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8" name="Picture Placeholder 11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087783" y="2033933"/>
            <a:ext cx="2946400" cy="396046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9" name="Date Placeholder 11"/>
          <p:cNvSpPr>
            <a:spLocks noGrp="1"/>
          </p:cNvSpPr>
          <p:nvPr>
            <p:ph type="dt" sz="half" idx="17"/>
          </p:nvPr>
        </p:nvSpPr>
        <p:spPr>
          <a:xfrm>
            <a:off x="3133344" y="6436626"/>
            <a:ext cx="1133856" cy="2243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DE7821-82FA-5D47-A338-FEE7FB12F249}" type="datetime1">
              <a:rPr lang="en-US" smtClean="0"/>
              <a:pPr/>
              <a:t>6/1/2026</a:t>
            </a:fld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20"/>
          </p:nvPr>
        </p:nvSpPr>
        <p:spPr>
          <a:xfrm>
            <a:off x="1482270" y="2031618"/>
            <a:ext cx="3118087" cy="393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7" b="0">
                <a:solidFill>
                  <a:srgbClr val="FFFFFF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sz="half" idx="21"/>
          </p:nvPr>
        </p:nvSpPr>
        <p:spPr>
          <a:xfrm>
            <a:off x="1247556" y="2405288"/>
            <a:ext cx="3352800" cy="358911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buClrTx/>
              <a:defRPr lang="en-US" smtClean="0">
                <a:solidFill>
                  <a:srgbClr val="FFFFFF"/>
                </a:solidFill>
              </a:defRPr>
            </a:lvl1pPr>
            <a:lvl2pPr>
              <a:defRPr lang="en-US" smtClean="0">
                <a:solidFill>
                  <a:srgbClr val="FFFFFF"/>
                </a:solidFill>
              </a:defRPr>
            </a:lvl2pPr>
            <a:lvl3pPr>
              <a:defRPr lang="en-US" smtClean="0">
                <a:solidFill>
                  <a:srgbClr val="FFFFFF"/>
                </a:solidFill>
              </a:defRPr>
            </a:lvl3pPr>
            <a:lvl4pPr>
              <a:defRPr lang="en-US" smtClean="0">
                <a:solidFill>
                  <a:srgbClr val="FFFFFF"/>
                </a:solidFill>
              </a:defRPr>
            </a:lvl4pPr>
            <a:lvl5pPr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470460" y="169881"/>
            <a:ext cx="9573685" cy="10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470459" y="1195843"/>
            <a:ext cx="9573684" cy="60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667" spc="-107" baseline="0">
                <a:solidFill>
                  <a:srgbClr val="FFFFFF"/>
                </a:solidFill>
              </a:defRPr>
            </a:lvl1pPr>
            <a:lvl2pPr marL="275160" indent="0">
              <a:buNone/>
              <a:defRPr/>
            </a:lvl2pPr>
            <a:lvl3pPr marL="609585" indent="0">
              <a:buNone/>
              <a:defRPr/>
            </a:lvl3pPr>
            <a:lvl4pPr marL="842412" indent="0">
              <a:buNone/>
              <a:defRPr/>
            </a:lvl4pPr>
            <a:lvl5pPr marL="1073123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27" name="Footer Placeholder 7"/>
          <p:cNvSpPr>
            <a:spLocks noGrp="1"/>
          </p:cNvSpPr>
          <p:nvPr>
            <p:ph type="ftr" sz="quarter" idx="11"/>
          </p:nvPr>
        </p:nvSpPr>
        <p:spPr bwMode="gray">
          <a:xfrm>
            <a:off x="4162659" y="6376319"/>
            <a:ext cx="6908800" cy="30835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or Section Title</a:t>
            </a:r>
          </a:p>
        </p:txBody>
      </p:sp>
      <p:sp>
        <p:nvSpPr>
          <p:cNvPr id="28" name="Slide Number Placeholder 8"/>
          <p:cNvSpPr>
            <a:spLocks noGrp="1"/>
          </p:cNvSpPr>
          <p:nvPr>
            <p:ph type="sldNum" sz="quarter" idx="12"/>
          </p:nvPr>
        </p:nvSpPr>
        <p:spPr bwMode="gray">
          <a:xfrm>
            <a:off x="11074399" y="6376319"/>
            <a:ext cx="462327" cy="30835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558541-60C9-42A2-8392-FF12533A6B7A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275" y="6296998"/>
            <a:ext cx="1896024" cy="353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357020"/>
      </p:ext>
    </p:extLst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1"/>
          <p:cNvSpPr>
            <a:spLocks noGrp="1"/>
          </p:cNvSpPr>
          <p:nvPr>
            <p:ph type="dt" sz="half" idx="14"/>
          </p:nvPr>
        </p:nvSpPr>
        <p:spPr>
          <a:xfrm>
            <a:off x="3133344" y="6436626"/>
            <a:ext cx="1133856" cy="224367"/>
          </a:xfrm>
          <a:prstGeom prst="rect">
            <a:avLst/>
          </a:prstGeom>
        </p:spPr>
        <p:txBody>
          <a:bodyPr/>
          <a:lstStyle/>
          <a:p>
            <a:fld id="{6E460D88-FDEE-654D-9AC4-EB2542DECCF3}" type="datetime1">
              <a:rPr lang="en-US" smtClean="0"/>
              <a:t>6/1/2026</a:t>
            </a:fld>
            <a:endParaRPr lang="en-US" dirty="0"/>
          </a:p>
        </p:txBody>
      </p:sp>
      <p:sp>
        <p:nvSpPr>
          <p:cNvPr id="15" name="Footer Placeholder 12"/>
          <p:cNvSpPr>
            <a:spLocks noGrp="1"/>
          </p:cNvSpPr>
          <p:nvPr>
            <p:ph type="ftr" sz="quarter" idx="15"/>
          </p:nvPr>
        </p:nvSpPr>
        <p:spPr>
          <a:xfrm>
            <a:off x="4162659" y="6374244"/>
            <a:ext cx="6908800" cy="30835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605F62"/>
                </a:solidFill>
              </a:rPr>
              <a:t>Presentation or Section Title</a:t>
            </a:r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16" name="Slide Number Placeholder 13"/>
          <p:cNvSpPr>
            <a:spLocks noGrp="1"/>
          </p:cNvSpPr>
          <p:nvPr>
            <p:ph type="sldNum" sz="quarter" idx="16"/>
          </p:nvPr>
        </p:nvSpPr>
        <p:spPr>
          <a:xfrm>
            <a:off x="11074399" y="6374245"/>
            <a:ext cx="462327" cy="308355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464743" y="169881"/>
            <a:ext cx="9573685" cy="101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464743" y="1195843"/>
            <a:ext cx="9573684" cy="60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667" spc="-107" baseline="0">
                <a:solidFill>
                  <a:schemeClr val="accent2"/>
                </a:solidFill>
              </a:defRPr>
            </a:lvl1pPr>
            <a:lvl2pPr marL="275160" indent="0">
              <a:buNone/>
              <a:defRPr/>
            </a:lvl2pPr>
            <a:lvl3pPr marL="609585" indent="0">
              <a:buNone/>
              <a:defRPr/>
            </a:lvl3pPr>
            <a:lvl4pPr marL="842412" indent="0">
              <a:buNone/>
              <a:defRPr/>
            </a:lvl4pPr>
            <a:lvl5pPr marL="1073123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1531491672"/>
      </p:ext>
    </p:extLst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11"/>
          <p:cNvSpPr>
            <a:spLocks noGrp="1"/>
          </p:cNvSpPr>
          <p:nvPr>
            <p:ph type="dt" sz="half" idx="14"/>
          </p:nvPr>
        </p:nvSpPr>
        <p:spPr>
          <a:xfrm>
            <a:off x="3133344" y="6436626"/>
            <a:ext cx="1133856" cy="224367"/>
          </a:xfrm>
          <a:prstGeom prst="rect">
            <a:avLst/>
          </a:prstGeom>
        </p:spPr>
        <p:txBody>
          <a:bodyPr/>
          <a:lstStyle/>
          <a:p>
            <a:fld id="{6E460D88-FDEE-654D-9AC4-EB2542DECCF3}" type="datetime1">
              <a:rPr lang="en-US" smtClean="0"/>
              <a:t>6/1/2026</a:t>
            </a:fld>
            <a:endParaRPr lang="en-US" dirty="0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5"/>
          </p:nvPr>
        </p:nvSpPr>
        <p:spPr>
          <a:xfrm>
            <a:off x="4162659" y="6374244"/>
            <a:ext cx="6908800" cy="30835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605F62"/>
                </a:solidFill>
              </a:rPr>
              <a:t>Presentation or Section Title</a:t>
            </a:r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8" name="Slide Number Placeholder 13"/>
          <p:cNvSpPr>
            <a:spLocks noGrp="1"/>
          </p:cNvSpPr>
          <p:nvPr>
            <p:ph type="sldNum" sz="quarter" idx="16"/>
          </p:nvPr>
        </p:nvSpPr>
        <p:spPr>
          <a:xfrm>
            <a:off x="11074399" y="6374245"/>
            <a:ext cx="462327" cy="308355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861" y="6295205"/>
            <a:ext cx="1895228" cy="35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430962"/>
      </p:ext>
    </p:extLst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11"/>
          <p:cNvSpPr>
            <a:spLocks noGrp="1"/>
          </p:cNvSpPr>
          <p:nvPr>
            <p:ph type="dt" sz="half" idx="14"/>
          </p:nvPr>
        </p:nvSpPr>
        <p:spPr>
          <a:xfrm>
            <a:off x="3133344" y="6436626"/>
            <a:ext cx="1133856" cy="224367"/>
          </a:xfrm>
          <a:prstGeom prst="rect">
            <a:avLst/>
          </a:prstGeom>
        </p:spPr>
        <p:txBody>
          <a:bodyPr/>
          <a:lstStyle/>
          <a:p>
            <a:fld id="{6E460D88-FDEE-654D-9AC4-EB2542DECCF3}" type="datetime1">
              <a:rPr lang="en-US" smtClean="0"/>
              <a:t>6/1/2026</a:t>
            </a:fld>
            <a:endParaRPr lang="en-US" dirty="0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5"/>
          </p:nvPr>
        </p:nvSpPr>
        <p:spPr>
          <a:xfrm>
            <a:off x="4162659" y="6374244"/>
            <a:ext cx="6908800" cy="30835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605F62"/>
                </a:solidFill>
              </a:rPr>
              <a:t>Presentation or Section Title</a:t>
            </a:r>
          </a:p>
        </p:txBody>
      </p:sp>
      <p:sp>
        <p:nvSpPr>
          <p:cNvPr id="8" name="Slide Number Placeholder 13"/>
          <p:cNvSpPr>
            <a:spLocks noGrp="1"/>
          </p:cNvSpPr>
          <p:nvPr>
            <p:ph type="sldNum" sz="quarter" idx="16"/>
          </p:nvPr>
        </p:nvSpPr>
        <p:spPr>
          <a:xfrm>
            <a:off x="11074399" y="6374245"/>
            <a:ext cx="462327" cy="308355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563275"/>
      </p:ext>
    </p:extLst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gradFill flip="none" rotWithShape="1">
          <a:gsLst>
            <a:gs pos="0">
              <a:srgbClr val="514689"/>
            </a:gs>
            <a:gs pos="100000">
              <a:schemeClr val="accent1"/>
            </a:gs>
          </a:gsLst>
          <a:lin ang="1452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6"/>
          <p:cNvSpPr/>
          <p:nvPr userDrawn="1"/>
        </p:nvSpPr>
        <p:spPr>
          <a:xfrm>
            <a:off x="1" y="-67715"/>
            <a:ext cx="4044076" cy="6998555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22311 w 241956"/>
              <a:gd name="connsiteY3" fmla="*/ 380776 h 381336"/>
              <a:gd name="connsiteX4" fmla="*/ 0 w 241956"/>
              <a:gd name="connsiteY4" fmla="*/ 231 h 381336"/>
              <a:gd name="connsiteX0" fmla="*/ 0 w 241956"/>
              <a:gd name="connsiteY0" fmla="*/ 231 h 381687"/>
              <a:gd name="connsiteX1" fmla="*/ 41468 w 241956"/>
              <a:gd name="connsiteY1" fmla="*/ 0 h 381687"/>
              <a:gd name="connsiteX2" fmla="*/ 241956 w 241956"/>
              <a:gd name="connsiteY2" fmla="*/ 381336 h 381687"/>
              <a:gd name="connsiteX3" fmla="*/ 21400 w 241956"/>
              <a:gd name="connsiteY3" fmla="*/ 381687 h 381687"/>
              <a:gd name="connsiteX4" fmla="*/ 0 w 2419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  <a:gd name="connsiteX0" fmla="*/ 0 w 220556"/>
              <a:gd name="connsiteY0" fmla="*/ 231 h 381687"/>
              <a:gd name="connsiteX1" fmla="*/ 20068 w 220556"/>
              <a:gd name="connsiteY1" fmla="*/ 0 h 381687"/>
              <a:gd name="connsiteX2" fmla="*/ 220556 w 220556"/>
              <a:gd name="connsiteY2" fmla="*/ 381336 h 381687"/>
              <a:gd name="connsiteX3" fmla="*/ 0 w 220556"/>
              <a:gd name="connsiteY3" fmla="*/ 381687 h 381687"/>
              <a:gd name="connsiteX4" fmla="*/ 0 w 220556"/>
              <a:gd name="connsiteY4" fmla="*/ 231 h 381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556" h="381687">
                <a:moveTo>
                  <a:pt x="0" y="231"/>
                </a:moveTo>
                <a:lnTo>
                  <a:pt x="20068" y="0"/>
                </a:lnTo>
                <a:lnTo>
                  <a:pt x="220556" y="381336"/>
                </a:lnTo>
                <a:lnTo>
                  <a:pt x="0" y="381687"/>
                </a:lnTo>
                <a:lnTo>
                  <a:pt x="0" y="23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kern="1200" dirty="0">
                <a:solidFill>
                  <a:schemeClr val="tx2"/>
                </a:solidFill>
              </a:rPr>
              <a:t>            </a:t>
            </a:r>
          </a:p>
        </p:txBody>
      </p:sp>
      <p:sp>
        <p:nvSpPr>
          <p:cNvPr id="9" name="Date Placeholder 6"/>
          <p:cNvSpPr>
            <a:spLocks noGrp="1"/>
          </p:cNvSpPr>
          <p:nvPr>
            <p:ph type="dt" sz="half" idx="10"/>
          </p:nvPr>
        </p:nvSpPr>
        <p:spPr bwMode="gray">
          <a:xfrm>
            <a:off x="9141059" y="6156099"/>
            <a:ext cx="1930400" cy="2243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38EC05-E3EA-C649-9CE5-71E503F74839}" type="datetime1">
              <a:rPr lang="en-US" smtClean="0">
                <a:solidFill>
                  <a:prstClr val="white"/>
                </a:solidFill>
              </a:rPr>
              <a:t>6/1/2026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11"/>
          </p:nvPr>
        </p:nvSpPr>
        <p:spPr bwMode="gray">
          <a:xfrm>
            <a:off x="4162659" y="6386280"/>
            <a:ext cx="6908800" cy="30835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or Section Title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 bwMode="gray">
          <a:xfrm>
            <a:off x="11074399" y="6376319"/>
            <a:ext cx="462327" cy="30835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558541-60C9-42A2-8392-FF12533A6B7A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275" y="6296998"/>
            <a:ext cx="1896024" cy="353713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429994" y="2757255"/>
            <a:ext cx="8996397" cy="1168439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5333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cument Tit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468256" y="3993687"/>
            <a:ext cx="8966819" cy="9144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Document Title</a:t>
            </a:r>
          </a:p>
        </p:txBody>
      </p:sp>
    </p:spTree>
    <p:extLst>
      <p:ext uri="{BB962C8B-B14F-4D97-AF65-F5344CB8AC3E}">
        <p14:creationId xmlns:p14="http://schemas.microsoft.com/office/powerpoint/2010/main" val="866920476"/>
      </p:ext>
    </p:extLst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EA52A-485C-AD2D-A825-8B4C4F261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B3987A-00E3-AA61-2C0B-BC39599EC9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FF1CF9-7722-4B26-7BC2-95178F6DDC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3D7436-0C04-8ECC-E51B-17F7E1C22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0925A7-A3F4-0633-E71D-7EE576BF1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C17379-0C3D-B242-978C-C852EFE81C7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4909330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10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7" name="Google Shape;10037;p14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38" name="Google Shape;10038;p14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39" name="Google Shape;10039;p14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40" name="Google Shape;10040;p14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41" name="Google Shape;10041;p14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42" name="Google Shape;10042;p14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43" name="Google Shape;10043;p14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6166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10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5" name="Google Shape;10045;p14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46" name="Google Shape;10046;p14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47" name="Google Shape;10047;p14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48" name="Google Shape;10048;p14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49" name="Google Shape;10049;p14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50" name="Google Shape;10050;p14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51" name="Google Shape;10051;p14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52" name="Google Shape;10052;p14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53" name="Google Shape;10053;p14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4" name="Google Shape;10054;p14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55" name="Google Shape;10055;p14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56" name="Google Shape;10056;p14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10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8" name="Google Shape;10058;p14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59" name="Google Shape;10059;p14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0" name="Google Shape;10060;p14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61" name="Google Shape;10061;p14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62" name="Google Shape;10062;p14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63" name="Google Shape;10063;p14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64" name="Google Shape;10064;p14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65" name="Google Shape;10065;p14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66" name="Google Shape;10066;p14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67" name="Google Shape;10067;p14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68" name="Google Shape;10068;p14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69" name="Google Shape;10069;p14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2">
    <p:spTree>
      <p:nvGrpSpPr>
        <p:cNvPr id="1" name="Shape 10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71" name="Google Shape;10071;p14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72" name="Google Shape;10072;p14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73" name="Google Shape;10073;p14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74" name="Google Shape;10074;p14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75" name="Google Shape;10075;p14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76" name="Google Shape;10076;p14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77" name="Google Shape;10077;p14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78" name="Google Shape;10078;p14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79" name="Google Shape;10079;p14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80" name="Google Shape;10080;p14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81" name="Google Shape;10081;p14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82" name="Google Shape;10082;p14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2">
    <p:spTree>
      <p:nvGrpSpPr>
        <p:cNvPr id="1" name="Shape 10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4" name="Google Shape;10084;p141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85" name="Google Shape;10085;p141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86" name="Google Shape;10086;p141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7" name="Google Shape;10087;p14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88" name="Google Shape;10088;p14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89" name="Google Shape;10089;p14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90" name="Google Shape;10090;p14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91" name="Google Shape;10091;p1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92" name="Google Shape;10092;p14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93" name="Google Shape;10093;p14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94" name="Google Shape;10094;p14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95" name="Google Shape;10095;p141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00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7" name="Google Shape;10097;p14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98" name="Google Shape;10098;p14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99" name="Google Shape;10099;p14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00" name="Google Shape;10100;p14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01" name="Google Shape;10101;p14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02" name="Google Shape;10102;p14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3" name="Google Shape;10103;p14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04" name="Google Shape;10104;p14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05" name="Google Shape;10105;p14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06" name="Google Shape;10106;p14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10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08" name="Google Shape;10108;p14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9" name="Google Shape;10109;p141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110" name="Google Shape;10110;p14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11" name="Google Shape;10111;p14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2" name="Google Shape;10112;p14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13" name="Google Shape;10113;p14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14" name="Google Shape;10114;p14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15" name="Google Shape;10115;p141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16" name="Google Shape;10116;p141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17" name="Google Shape;10117;p14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18" name="Google Shape;10118;p14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10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20" name="Google Shape;10120;p14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21" name="Google Shape;10121;p14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22" name="Google Shape;10122;p14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23" name="Google Shape;10123;p14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24" name="Google Shape;10124;p14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25" name="Google Shape;10125;p14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26" name="Google Shape;10126;p141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27" name="Google Shape;10127;p141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28" name="Google Shape;10128;p141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29" name="Google Shape;10129;p141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30" name="Google Shape;10130;p14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31" name="Google Shape;10131;p14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2" name="Google Shape;10132;p14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3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78" name="Google Shape;13178;p40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79" name="Google Shape;13179;p40"/>
          <p:cNvSpPr txBox="1">
            <a:spLocks noGrp="1"/>
          </p:cNvSpPr>
          <p:nvPr>
            <p:ph type="body" idx="1"/>
          </p:nvPr>
        </p:nvSpPr>
        <p:spPr>
          <a:xfrm>
            <a:off x="1180846" y="1033017"/>
            <a:ext cx="9452610" cy="1463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80" name="Google Shape;13180;p40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81" name="Google Shape;13181;p40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82" name="Google Shape;13182;p40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10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34" name="Google Shape;10134;p14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35" name="Google Shape;10135;p14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36" name="Google Shape;10136;p14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37" name="Google Shape;10137;p14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38" name="Google Shape;10138;p14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39" name="Google Shape;10139;p14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40" name="Google Shape;10140;p14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41" name="Google Shape;10141;p14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42" name="Google Shape;10142;p14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10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44" name="Google Shape;10144;p142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145" name="Google Shape;10145;p142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46" name="Google Shape;10146;p142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147" name="Google Shape;10147;p142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48" name="Google Shape;10148;p142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49" name="Google Shape;10149;p142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150" name="Google Shape;10150;p14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1" name="Google Shape;10151;p142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10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53" name="Google Shape;10153;p14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54" name="Google Shape;10154;p14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55" name="Google Shape;10155;p1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56" name="Google Shape;10156;p14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7" name="Google Shape;10157;p14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58" name="Google Shape;10158;p14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59" name="Google Shape;10159;p14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60" name="Google Shape;10160;p14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10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2" name="Google Shape;10162;p142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63" name="Google Shape;10163;p142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64" name="Google Shape;10164;p142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165" name="Google Shape;10165;p14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166" name="Google Shape;10166;p142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167" name="Google Shape;10167;p142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68" name="Google Shape;10168;p142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69" name="Google Shape;10169;p14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spTree>
      <p:nvGrpSpPr>
        <p:cNvPr id="1" name="Shape 10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71" name="Google Shape;10171;p142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172" name="Google Shape;10172;p142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73" name="Google Shape;10173;p142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74" name="Google Shape;10174;p142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75" name="Google Shape;10175;p14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76" name="Google Shape;10176;p142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77" name="Google Shape;10177;p142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10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79" name="Google Shape;10179;p14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80" name="Google Shape;10180;p14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81" name="Google Shape;10181;p14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2" name="Google Shape;10182;p14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83" name="Google Shape;10183;p14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4" name="Google Shape;10184;p14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85" name="Google Shape;10185;p14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86" name="Google Shape;10186;p14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87" name="Google Shape;10187;p14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88" name="Google Shape;10188;p14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9" name="Google Shape;10189;p14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90" name="Google Shape;10190;p14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2">
    <p:spTree>
      <p:nvGrpSpPr>
        <p:cNvPr id="1" name="Shape 10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2" name="Google Shape;10192;p14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93" name="Google Shape;10193;p14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94" name="Google Shape;10194;p14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95" name="Google Shape;10195;p14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96" name="Google Shape;10196;p14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97" name="Google Shape;10197;p14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98" name="Google Shape;10198;p14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99" name="Google Shape;10199;p14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00" name="Google Shape;10200;p14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01" name="Google Shape;10201;p14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02" name="Google Shape;10202;p14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03" name="Google Shape;10203;p14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0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05" name="Google Shape;10205;p14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06" name="Google Shape;10206;p14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07" name="Google Shape;10207;p14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08" name="Google Shape;10208;p14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09" name="Google Shape;10209;p14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10" name="Google Shape;10210;p14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1" name="Google Shape;10211;p14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12" name="Google Shape;10212;p14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13" name="Google Shape;10213;p14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14" name="Google Shape;10214;p14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10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16" name="Google Shape;10216;p14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7" name="Google Shape;10217;p142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18" name="Google Shape;10218;p14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19" name="Google Shape;10219;p14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20" name="Google Shape;10220;p14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21" name="Google Shape;10221;p14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22" name="Google Shape;10222;p14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23" name="Google Shape;10223;p142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24" name="Google Shape;10224;p142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25" name="Google Shape;10225;p14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26" name="Google Shape;10226;p14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10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28" name="Google Shape;10228;p14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29" name="Google Shape;10229;p14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30" name="Google Shape;10230;p14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31" name="Google Shape;10231;p14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32" name="Google Shape;10232;p14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33" name="Google Shape;10233;p14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34" name="Google Shape;10234;p142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35" name="Google Shape;10235;p142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36" name="Google Shape;10236;p142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37" name="Google Shape;10237;p142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38" name="Google Shape;10238;p14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39" name="Google Shape;10239;p14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40" name="Google Shape;10240;p14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13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92" name="Google Shape;13192;p68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3" name="Google Shape;13193;p68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4" name="Google Shape;13194;p68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10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Google Shape;10242;p142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243" name="Google Shape;10243;p142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244" name="Google Shape;10244;p142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245" name="Google Shape;10245;p142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46" name="Google Shape;10246;p142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47" name="Google Shape;10247;p142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248" name="Google Shape;10248;p14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10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50" name="Google Shape;10250;p143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251" name="Google Shape;10251;p143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52" name="Google Shape;10252;p143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53" name="Google Shape;10253;p143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54" name="Google Shape;10254;p143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55" name="Google Shape;10255;p143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256" name="Google Shape;10256;p14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257" name="Google Shape;10257;p143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10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9" name="Google Shape;10259;p14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60" name="Google Shape;10260;p14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61" name="Google Shape;10261;p14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62" name="Google Shape;10262;p14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63" name="Google Shape;10263;p14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64" name="Google Shape;10264;p14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65" name="Google Shape;10265;p14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66" name="Google Shape;10266;p14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10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8" name="Google Shape;10268;p14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69" name="Google Shape;10269;p14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70" name="Google Shape;10270;p14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71" name="Google Shape;10271;p14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72" name="Google Shape;10272;p14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73" name="Google Shape;10273;p14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74" name="Google Shape;10274;p14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75" name="Google Shape;10275;p14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76" name="Google Shape;10276;p14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10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8" name="Google Shape;10278;p1433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79" name="Google Shape;10279;p1433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0280" name="Google Shape;10280;p1433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0281" name="Google Shape;10281;p1433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82" name="Google Shape;10282;p1433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0283" name="Google Shape;10283;p14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10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5" name="Google Shape;10285;p143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86" name="Google Shape;10286;p143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87" name="Google Shape;10287;p143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8" name="Google Shape;10288;p14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89" name="Google Shape;10289;p14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90" name="Google Shape;10290;p14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91" name="Google Shape;10291;p14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92" name="Google Shape;10292;p14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93" name="Google Shape;10293;p14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94" name="Google Shape;10294;p14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95" name="Google Shape;10295;p14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96" name="Google Shape;10296;p143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2">
    <p:spTree>
      <p:nvGrpSpPr>
        <p:cNvPr id="1" name="Shape 10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8" name="Google Shape;10298;p143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99" name="Google Shape;10299;p143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00" name="Google Shape;10300;p143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01" name="Google Shape;10301;p14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02" name="Google Shape;10302;p14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3" name="Google Shape;10303;p14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04" name="Google Shape;10304;p14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05" name="Google Shape;10305;p14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06" name="Google Shape;10306;p14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07" name="Google Shape;10307;p14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08" name="Google Shape;10308;p14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09" name="Google Shape;10309;p143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10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1" name="Google Shape;10311;p14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12" name="Google Shape;10312;p14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13" name="Google Shape;10313;p14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14" name="Google Shape;10314;p14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15" name="Google Shape;10315;p14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16" name="Google Shape;10316;p14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17" name="Google Shape;10317;p14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18" name="Google Shape;10318;p14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19" name="Google Shape;10319;p14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20" name="Google Shape;10320;p14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21" name="Google Shape;10321;p14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22" name="Google Shape;10322;p143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2">
    <p:spTree>
      <p:nvGrpSpPr>
        <p:cNvPr id="1" name="Shape 10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4" name="Google Shape;10324;p14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25" name="Google Shape;10325;p14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26" name="Google Shape;10326;p14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27" name="Google Shape;10327;p14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28" name="Google Shape;10328;p14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29" name="Google Shape;10329;p14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30" name="Google Shape;10330;p14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31" name="Google Shape;10331;p14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32" name="Google Shape;10332;p14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3" name="Google Shape;10333;p14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34" name="Google Shape;10334;p14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35" name="Google Shape;10335;p143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3">
    <p:spTree>
      <p:nvGrpSpPr>
        <p:cNvPr id="1" name="Shape 10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7" name="Google Shape;10337;p14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38" name="Google Shape;10338;p14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9" name="Google Shape;10339;p14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40" name="Google Shape;10340;p14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41" name="Google Shape;10341;p14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42" name="Google Shape;10342;p14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43" name="Google Shape;10343;p14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44" name="Google Shape;10344;p14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45" name="Google Shape;10345;p14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46" name="Google Shape;10346;p14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47" name="Google Shape;10347;p14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48" name="Google Shape;10348;p143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dk2"/>
        </a:solidFill>
        <a:effectLst/>
      </p:bgPr>
    </p:bg>
    <p:spTree>
      <p:nvGrpSpPr>
        <p:cNvPr id="1" name="Shape 13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196" name="Google Shape;13196;p6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3197" name="Google Shape;13197;p6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98" name="Google Shape;13198;p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76923C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99" name="Google Shape;13199;p6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200" name="Google Shape;13200;p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201" name="Google Shape;13201;p6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02" name="Google Shape;13202;p6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2">
    <p:spTree>
      <p:nvGrpSpPr>
        <p:cNvPr id="1" name="Shape 10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0" name="Google Shape;10350;p143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51" name="Google Shape;10351;p143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52" name="Google Shape;10352;p143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53" name="Google Shape;10353;p14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54" name="Google Shape;10354;p14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55" name="Google Shape;10355;p14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56" name="Google Shape;10356;p14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57" name="Google Shape;10357;p14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58" name="Google Shape;10358;p14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59" name="Google Shape;10359;p14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60" name="Google Shape;10360;p14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61" name="Google Shape;10361;p143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2">
    <p:spTree>
      <p:nvGrpSpPr>
        <p:cNvPr id="1" name="Shape 10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5" name="Google Shape;10375;p14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76" name="Google Shape;10376;p14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77" name="Google Shape;10377;p14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78" name="Google Shape;10378;p14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79" name="Google Shape;10379;p14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80" name="Google Shape;10380;p14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81" name="Google Shape;10381;p14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82" name="Google Shape;10382;p14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83" name="Google Shape;10383;p14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84" name="Google Shape;10384;p14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85" name="Google Shape;10385;p14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86" name="Google Shape;10386;p14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3">
    <p:spTree>
      <p:nvGrpSpPr>
        <p:cNvPr id="1" name="Shape 10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88" name="Google Shape;10388;p14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89" name="Google Shape;10389;p14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90" name="Google Shape;10390;p14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91" name="Google Shape;10391;p14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92" name="Google Shape;10392;p14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93" name="Google Shape;10393;p14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94" name="Google Shape;10394;p14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95" name="Google Shape;10395;p14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96" name="Google Shape;10396;p14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97" name="Google Shape;10397;p14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98" name="Google Shape;10398;p14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99" name="Google Shape;10399;p14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10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1" name="Google Shape;10401;p144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02" name="Google Shape;10402;p144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03" name="Google Shape;10403;p144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404" name="Google Shape;10404;p144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405" name="Google Shape;10405;p144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406" name="Google Shape;10406;p144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07" name="Google Shape;10407;p144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408" name="Google Shape;10408;p14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spTree>
      <p:nvGrpSpPr>
        <p:cNvPr id="1" name="Shape 10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10" name="Google Shape;10410;p144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411" name="Google Shape;10411;p144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12" name="Google Shape;10412;p14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13" name="Google Shape;10413;p144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414" name="Google Shape;10414;p14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415" name="Google Shape;10415;p144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16" name="Google Shape;10416;p144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10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8" name="Google Shape;10418;p144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419" name="Google Shape;10419;p144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420" name="Google Shape;10420;p144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421" name="Google Shape;10421;p144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22" name="Google Shape;10422;p144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23" name="Google Shape;10423;p144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424" name="Google Shape;10424;p14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10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6" name="Google Shape;10426;p144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27" name="Google Shape;10427;p144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28" name="Google Shape;10428;p144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9" name="Google Shape;10429;p14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0" name="Google Shape;10430;p14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31" name="Google Shape;10431;p14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32" name="Google Shape;10432;p14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33" name="Google Shape;10433;p14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34" name="Google Shape;10434;p14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35" name="Google Shape;10435;p14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36" name="Google Shape;10436;p14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437" name="Google Shape;10437;p144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2">
    <p:spTree>
      <p:nvGrpSpPr>
        <p:cNvPr id="1" name="Shape 10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9" name="Google Shape;10439;p14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40" name="Google Shape;10440;p14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41" name="Google Shape;10441;p14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2" name="Google Shape;10442;p14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43" name="Google Shape;10443;p14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4" name="Google Shape;10444;p14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45" name="Google Shape;10445;p14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46" name="Google Shape;10446;p14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47" name="Google Shape;10447;p14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48" name="Google Shape;10448;p14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49" name="Google Shape;10449;p14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450" name="Google Shape;10450;p14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0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52" name="Google Shape;10452;p14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53" name="Google Shape;10453;p14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54" name="Google Shape;10454;p14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55" name="Google Shape;10455;p14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56" name="Google Shape;10456;p14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57" name="Google Shape;10457;p14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58" name="Google Shape;10458;p144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59" name="Google Shape;10459;p14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60" name="Google Shape;10460;p14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61" name="Google Shape;10461;p14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63" name="Google Shape;10463;p14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64" name="Google Shape;10464;p14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65" name="Google Shape;10465;p14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66" name="Google Shape;10466;p14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67" name="Google Shape;10467;p14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68" name="Google Shape;10468;p14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69" name="Google Shape;10469;p14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70" name="Google Shape;10470;p14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71" name="Google Shape;10471;p14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72" name="Google Shape;10472;p14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73" name="Google Shape;10473;p14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13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4" name="Google Shape;13204;p70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05" name="Google Shape;13205;p70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06" name="Google Shape;13206;p70"/>
          <p:cNvSpPr txBox="1">
            <a:spLocks noGrp="1"/>
          </p:cNvSpPr>
          <p:nvPr>
            <p:ph type="body" idx="2"/>
          </p:nvPr>
        </p:nvSpPr>
        <p:spPr>
          <a:xfrm>
            <a:off x="6868159" y="1152207"/>
            <a:ext cx="4359909" cy="4176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50" b="1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07" name="Google Shape;13207;p70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08" name="Google Shape;13208;p70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09" name="Google Shape;13209;p70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10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75" name="Google Shape;10475;p14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76" name="Google Shape;10476;p14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77" name="Google Shape;10477;p14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78" name="Google Shape;10478;p14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79" name="Google Shape;10479;p14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80" name="Google Shape;10480;p14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81" name="Google Shape;10481;p14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82" name="Google Shape;10482;p14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83" name="Google Shape;10483;p14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84" name="Google Shape;10484;p14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85" name="Google Shape;10485;p14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86" name="Google Shape;10486;p14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87" name="Google Shape;10487;p14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10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89" name="Google Shape;10489;p14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90" name="Google Shape;10490;p14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91" name="Google Shape;10491;p14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92" name="Google Shape;10492;p14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93" name="Google Shape;10493;p14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94" name="Google Shape;10494;p14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5" name="Google Shape;10495;p14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96" name="Google Shape;10496;p14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97" name="Google Shape;10497;p14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99" name="Google Shape;10499;p14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00" name="Google Shape;10500;p14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01" name="Google Shape;10501;p14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02" name="Google Shape;10502;p14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03" name="Google Shape;10503;p14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04" name="Google Shape;10504;p14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505" name="Google Shape;10505;p14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506" name="Google Shape;10506;p14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10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8" name="Google Shape;10508;p14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09" name="Google Shape;10509;p14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10" name="Google Shape;10510;p14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11" name="Google Shape;10511;p14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12" name="Google Shape;10512;p14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13" name="Google Shape;10513;p14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14" name="Google Shape;10514;p14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15" name="Google Shape;10515;p14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7" name="Google Shape;10517;p145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18" name="Google Shape;10518;p145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19" name="Google Shape;10519;p145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520" name="Google Shape;10520;p14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521" name="Google Shape;10521;p145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522" name="Google Shape;10522;p145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23" name="Google Shape;10523;p145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24" name="Google Shape;10524;p14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spTree>
      <p:nvGrpSpPr>
        <p:cNvPr id="1" name="Shape 10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26" name="Google Shape;10526;p145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527" name="Google Shape;10527;p145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28" name="Google Shape;10528;p14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29" name="Google Shape;10529;p145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30" name="Google Shape;10530;p14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531" name="Google Shape;10531;p145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32" name="Google Shape;10532;p145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0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4" name="Google Shape;10534;p145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535" name="Google Shape;10535;p145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536" name="Google Shape;10536;p145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537" name="Google Shape;10537;p145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38" name="Google Shape;10538;p145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39" name="Google Shape;10539;p145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540" name="Google Shape;10540;p14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2" name="Google Shape;10542;p145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43" name="Google Shape;10543;p145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44" name="Google Shape;10544;p145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5" name="Google Shape;10545;p14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46" name="Google Shape;10546;p14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47" name="Google Shape;10547;p14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48" name="Google Shape;10548;p14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49" name="Google Shape;10549;p14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50" name="Google Shape;10550;p14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51" name="Google Shape;10551;p14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52" name="Google Shape;10552;p14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553" name="Google Shape;10553;p145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0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55" name="Google Shape;10555;p14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56" name="Google Shape;10556;p14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57" name="Google Shape;10557;p14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58" name="Google Shape;10558;p14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59" name="Google Shape;10559;p14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60" name="Google Shape;10560;p14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61" name="Google Shape;10561;p14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62" name="Google Shape;10562;p14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63" name="Google Shape;10563;p14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4" name="Google Shape;10564;p14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0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6" name="Google Shape;10566;p14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67" name="Google Shape;10567;p14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568" name="Google Shape;10568;p14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69" name="Google Shape;10569;p14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70" name="Google Shape;10570;p14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71" name="Google Shape;10571;p14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72" name="Google Shape;10572;p14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73" name="Google Shape;10573;p145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74" name="Google Shape;10574;p145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75" name="Google Shape;10575;p14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76" name="Google Shape;10576;p14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3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" name="Google Shape;13211;p71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12" name="Google Shape;13212;p71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13" name="Google Shape;13213;p7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14" name="Google Shape;13214;p71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78" name="Google Shape;10578;p14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79" name="Google Shape;10579;p14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80" name="Google Shape;10580;p14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81" name="Google Shape;10581;p14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82" name="Google Shape;10582;p14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83" name="Google Shape;10583;p14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84" name="Google Shape;10584;p146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85" name="Google Shape;10585;p146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86" name="Google Shape;10586;p146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87" name="Google Shape;10587;p146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88" name="Google Shape;10588;p14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89" name="Google Shape;10589;p14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90" name="Google Shape;10590;p14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92" name="Google Shape;10592;p14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93" name="Google Shape;10593;p14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94" name="Google Shape;10594;p14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95" name="Google Shape;10595;p14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96" name="Google Shape;10596;p14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97" name="Google Shape;10597;p14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98" name="Google Shape;10598;p14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99" name="Google Shape;10599;p14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00" name="Google Shape;10600;p14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02" name="Google Shape;10602;p146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603" name="Google Shape;10603;p146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04" name="Google Shape;10604;p146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605" name="Google Shape;10605;p146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06" name="Google Shape;10606;p146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07" name="Google Shape;10607;p146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08" name="Google Shape;10608;p14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609" name="Google Shape;10609;p14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1" name="Google Shape;10611;p14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12" name="Google Shape;10612;p14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13" name="Google Shape;10613;p14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14" name="Google Shape;10614;p14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15" name="Google Shape;10615;p14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16" name="Google Shape;10616;p14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17" name="Google Shape;10617;p14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18" name="Google Shape;10618;p14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0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0" name="Google Shape;10620;p14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21" name="Google Shape;10621;p14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22" name="Google Shape;10622;p14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23" name="Google Shape;10623;p14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24" name="Google Shape;10624;p14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25" name="Google Shape;10625;p14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26" name="Google Shape;10626;p14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27" name="Google Shape;10627;p14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28" name="Google Shape;10628;p14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29" name="Google Shape;10629;p14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30" name="Google Shape;10630;p14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631" name="Google Shape;10631;p14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 2">
    <p:spTree>
      <p:nvGrpSpPr>
        <p:cNvPr id="1" name="Shape 10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33" name="Google Shape;10633;p146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34" name="Google Shape;10634;p146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35" name="Google Shape;10635;p146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636" name="Google Shape;10636;p146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637" name="Google Shape;10637;p146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638" name="Google Shape;10638;p146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39" name="Google Shape;10639;p146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640" name="Google Shape;10640;p14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 2">
    <p:spTree>
      <p:nvGrpSpPr>
        <p:cNvPr id="1" name="Shape 10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42" name="Google Shape;10642;p146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643" name="Google Shape;10643;p146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44" name="Google Shape;10644;p14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45" name="Google Shape;10645;p146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646" name="Google Shape;10646;p14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47" name="Google Shape;10647;p146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8" name="Google Shape;10648;p146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 2">
    <p:spTree>
      <p:nvGrpSpPr>
        <p:cNvPr id="1" name="Shape 10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0" name="Google Shape;10650;p146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651" name="Google Shape;10651;p146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652" name="Google Shape;10652;p146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653" name="Google Shape;10653;p146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54" name="Google Shape;10654;p146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655" name="Google Shape;10655;p146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656" name="Google Shape;10656;p14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2">
    <p:spTree>
      <p:nvGrpSpPr>
        <p:cNvPr id="1" name="Shape 10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8" name="Google Shape;10658;p146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59" name="Google Shape;10659;p14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0" name="Google Shape;10660;p14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61" name="Google Shape;10661;p14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62" name="Google Shape;10662;p14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63" name="Google Shape;10663;p14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64" name="Google Shape;10664;p14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65" name="Google Shape;10665;p14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66" name="Google Shape;10666;p14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67" name="Google Shape;10667;p14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68" name="Google Shape;10668;p14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669" name="Google Shape;10669;p146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 2">
    <p:spTree>
      <p:nvGrpSpPr>
        <p:cNvPr id="1" name="Shape 10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71" name="Google Shape;10671;p14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72" name="Google Shape;10672;p14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73" name="Google Shape;10673;p14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74" name="Google Shape;10674;p14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75" name="Google Shape;10675;p14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76" name="Google Shape;10676;p14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77" name="Google Shape;10677;p146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78" name="Google Shape;10678;p14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79" name="Google Shape;10679;p14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80" name="Google Shape;10680;p14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BLANK">
    <p:spTree>
      <p:nvGrpSpPr>
        <p:cNvPr id="1" name="Shape 13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6" name="Google Shape;13216;p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17" name="Google Shape;13217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F4F3E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218" name="Google Shape;13218;p72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219" name="Google Shape;13219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220" name="Google Shape;13220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221" name="Google Shape;13221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22" name="Google Shape;13222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76923C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223" name="Google Shape;13223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 2">
    <p:spTree>
      <p:nvGrpSpPr>
        <p:cNvPr id="1" name="Shape 10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2" name="Google Shape;10682;p14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83" name="Google Shape;10683;p147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684" name="Google Shape;10684;p14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85" name="Google Shape;10685;p14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86" name="Google Shape;10686;p14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87" name="Google Shape;10687;p14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88" name="Google Shape;10688;p14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89" name="Google Shape;10689;p147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90" name="Google Shape;10690;p147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91" name="Google Shape;10691;p14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92" name="Google Shape;10692;p14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 2">
    <p:spTree>
      <p:nvGrpSpPr>
        <p:cNvPr id="1" name="Shape 10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94" name="Google Shape;10694;p14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5" name="Google Shape;10695;p14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96" name="Google Shape;10696;p14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97" name="Google Shape;10697;p14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98" name="Google Shape;10698;p14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99" name="Google Shape;10699;p14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00" name="Google Shape;10700;p147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01" name="Google Shape;10701;p147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02" name="Google Shape;10702;p147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03" name="Google Shape;10703;p147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04" name="Google Shape;10704;p14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05" name="Google Shape;10705;p14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06" name="Google Shape;10706;p14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 2">
    <p:spTree>
      <p:nvGrpSpPr>
        <p:cNvPr id="1" name="Shape 10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08" name="Google Shape;10708;p14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09" name="Google Shape;10709;p14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10" name="Google Shape;10710;p14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11" name="Google Shape;10711;p14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12" name="Google Shape;10712;p14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13" name="Google Shape;10713;p14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14" name="Google Shape;10714;p14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15" name="Google Shape;10715;p14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16" name="Google Shape;10716;p14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 2">
    <p:spTree>
      <p:nvGrpSpPr>
        <p:cNvPr id="1" name="Shape 10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18" name="Google Shape;10718;p147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719" name="Google Shape;10719;p147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20" name="Google Shape;10720;p147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21" name="Google Shape;10721;p147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22" name="Google Shape;10722;p147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23" name="Google Shape;10723;p147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24" name="Google Shape;10724;p14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25" name="Google Shape;10725;p14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 2">
    <p:spTree>
      <p:nvGrpSpPr>
        <p:cNvPr id="1" name="Shape 10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27" name="Google Shape;10727;p14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28" name="Google Shape;10728;p14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29" name="Google Shape;10729;p14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30" name="Google Shape;10730;p14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31" name="Google Shape;10731;p14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32" name="Google Shape;10732;p14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33" name="Google Shape;10733;p14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34" name="Google Shape;10734;p14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2">
    <p:spTree>
      <p:nvGrpSpPr>
        <p:cNvPr id="1" name="Shape 107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36" name="Google Shape;10736;p14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37" name="Google Shape;10737;p14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38" name="Google Shape;10738;p14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9" name="Google Shape;10739;p14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40" name="Google Shape;10740;p14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41" name="Google Shape;10741;p14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42" name="Google Shape;10742;p14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43" name="Google Shape;10743;p14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44" name="Google Shape;10744;p14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45" name="Google Shape;10745;p14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46" name="Google Shape;10746;p14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747" name="Google Shape;10747;p14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0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9" name="Google Shape;10749;p1476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50" name="Google Shape;10750;p1476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51" name="Google Shape;10751;p147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752" name="Google Shape;10752;p14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53" name="Google Shape;10753;p14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0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5" name="Google Shape;10755;p147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56" name="Google Shape;10756;p147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57" name="Google Shape;10757;p147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758" name="Google Shape;10758;p14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59" name="Google Shape;10759;p14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760" name="Google Shape;10760;p147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61" name="Google Shape;10761;p147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62" name="Google Shape;10762;p147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763" name="Google Shape;10763;p14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0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5" name="Google Shape;10765;p147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66" name="Google Shape;10766;p147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67" name="Google Shape;10767;p147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768" name="Google Shape;10768;p14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69" name="Google Shape;10769;p14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770" name="Google Shape;10770;p147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71" name="Google Shape;10771;p147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72" name="Google Shape;10772;p147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773" name="Google Shape;10773;p14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0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5" name="Google Shape;10775;p147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6" name="Google Shape;10776;p147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77" name="Google Shape;10777;p147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78" name="Google Shape;10778;p147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779" name="Google Shape;10779;p147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3" name="Google Shape;9043;p2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44" name="Google Shape;9044;p2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45" name="Google Shape;9045;p2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046" name="Google Shape;9046;p2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47" name="Google Shape;9047;p2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48" name="Google Shape;9048;p2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49" name="Google Shape;9049;p2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50" name="Google Shape;9050;p2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0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1" name="Google Shape;10781;p14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782" name="Google Shape;10782;p148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783" name="Google Shape;10783;p14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84" name="Google Shape;10784;p148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85" name="Google Shape;10785;p148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0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7" name="Google Shape;10787;p148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88" name="Google Shape;10788;p148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89" name="Google Shape;10789;p148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90" name="Google Shape;10790;p148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91" name="Google Shape;10791;p148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92" name="Google Shape;10792;p148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07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4" name="Google Shape;10794;p148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95" name="Google Shape;10795;p148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96" name="Google Shape;10796;p148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797" name="Google Shape;10797;p14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98" name="Google Shape;10798;p14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799" name="Google Shape;10799;p148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00" name="Google Shape;10800;p148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01" name="Google Shape;10801;p148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802" name="Google Shape;10802;p14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0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04" name="Google Shape;10804;p148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05" name="Google Shape;10805;p148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06" name="Google Shape;10806;p148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07" name="Google Shape;10807;p148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808" name="Google Shape;10808;p14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0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0" name="Google Shape;10810;p148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811" name="Google Shape;10811;p14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812" name="Google Shape;10812;p148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13" name="Google Shape;10813;p148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14" name="Google Shape;10814;p148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0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6" name="Google Shape;10816;p148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17" name="Google Shape;10817;p148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18" name="Google Shape;10818;p148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19" name="Google Shape;10819;p148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20" name="Google Shape;10820;p148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821" name="Google Shape;10821;p14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0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23" name="Google Shape;10823;p148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24" name="Google Shape;10824;p148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25" name="Google Shape;10825;p148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826" name="Google Shape;10826;p14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27" name="Google Shape;10827;p14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828" name="Google Shape;10828;p148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29" name="Google Shape;10829;p148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30" name="Google Shape;10830;p148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831" name="Google Shape;10831;p14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0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33" name="Google Shape;10833;p148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34" name="Google Shape;10834;p148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35" name="Google Shape;10835;p148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36" name="Google Shape;10836;p148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837" name="Google Shape;10837;p14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0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39" name="Google Shape;10839;p148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840" name="Google Shape;10840;p14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841" name="Google Shape;10841;p148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42" name="Google Shape;10842;p148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43" name="Google Shape;10843;p148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0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45" name="Google Shape;10845;p148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46" name="Google Shape;10846;p148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47" name="Google Shape;10847;p148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48" name="Google Shape;10848;p148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49" name="Google Shape;10849;p148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850" name="Google Shape;10850;p14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90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2" name="Google Shape;9052;p2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53" name="Google Shape;9053;p28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054" name="Google Shape;9054;p2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55" name="Google Shape;9055;p2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56" name="Google Shape;9056;p2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57" name="Google Shape;9057;p2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58" name="Google Shape;9058;p2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59" name="Google Shape;9059;p28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60" name="Google Shape;9060;p28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61" name="Google Shape;9061;p2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62" name="Google Shape;9062;p2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0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2" name="Google Shape;10852;p149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53" name="Google Shape;10853;p149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54" name="Google Shape;10854;p149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855" name="Google Shape;10855;p14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56" name="Google Shape;10856;p14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857" name="Google Shape;10857;p149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58" name="Google Shape;10858;p149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59" name="Google Shape;10859;p149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860" name="Google Shape;10860;p14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08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2" name="Google Shape;10862;p149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63" name="Google Shape;10863;p149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64" name="Google Shape;10864;p149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865" name="Google Shape;10865;p14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66" name="Google Shape;10866;p14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867" name="Google Shape;10867;p149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68" name="Google Shape;10868;p149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69" name="Google Shape;10869;p149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870" name="Google Shape;10870;p14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0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2" name="Google Shape;10872;p149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73" name="Google Shape;10873;p149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4" name="Google Shape;10874;p149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5" name="Google Shape;10875;p149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876" name="Google Shape;10876;p14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0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8" name="Google Shape;10878;p149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879" name="Google Shape;10879;p14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880" name="Google Shape;10880;p149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81" name="Google Shape;10881;p149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2" name="Google Shape;10882;p149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0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4" name="Google Shape;10884;p149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85" name="Google Shape;10885;p149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86" name="Google Shape;10886;p149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87" name="Google Shape;10887;p149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88" name="Google Shape;10888;p149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889" name="Google Shape;10889;p14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0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91" name="Google Shape;10891;p149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92" name="Google Shape;10892;p149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93" name="Google Shape;10893;p149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894" name="Google Shape;10894;p14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95" name="Google Shape;10895;p14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896" name="Google Shape;10896;p149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97" name="Google Shape;10897;p149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98" name="Google Shape;10898;p149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899" name="Google Shape;10899;p14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0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1" name="Google Shape;10901;p149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02" name="Google Shape;10902;p149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03" name="Google Shape;10903;p149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04" name="Google Shape;10904;p149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905" name="Google Shape;10905;p14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0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7" name="Google Shape;10907;p149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908" name="Google Shape;10908;p14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909" name="Google Shape;10909;p149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10" name="Google Shape;10910;p149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11" name="Google Shape;10911;p149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0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13" name="Google Shape;10913;p149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14" name="Google Shape;10914;p149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15" name="Google Shape;10915;p149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16" name="Google Shape;10916;p149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17" name="Google Shape;10917;p149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18" name="Google Shape;10918;p14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0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20" name="Google Shape;10920;p149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21" name="Google Shape;10921;p149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22" name="Google Shape;10922;p149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23" name="Google Shape;10923;p149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924" name="Google Shape;10924;p149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90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4" name="Google Shape;9064;p29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65" name="Google Shape;9065;p29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66" name="Google Shape;9066;p29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067" name="Google Shape;9067;p2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grpSp>
        <p:nvGrpSpPr>
          <p:cNvPr id="9068" name="Google Shape;9068;p29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069" name="Google Shape;9069;p2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70" name="Google Shape;9070;p29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071" name="Google Shape;9071;p2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0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26" name="Google Shape;10926;p150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927" name="Google Shape;10927;p150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928" name="Google Shape;10928;p150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29" name="Google Shape;10929;p150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30" name="Google Shape;10930;p150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0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2" name="Google Shape;10932;p150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33" name="Google Shape;10933;p150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34" name="Google Shape;10934;p150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35" name="Google Shape;10935;p150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36" name="Google Shape;10936;p150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37" name="Google Shape;10937;p150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 2">
    <p:spTree>
      <p:nvGrpSpPr>
        <p:cNvPr id="1" name="Shape 10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9" name="Google Shape;10939;p150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40" name="Google Shape;10940;p150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41" name="Google Shape;10941;p150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942" name="Google Shape;10942;p15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43" name="Google Shape;10943;p15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944" name="Google Shape;10944;p150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45" name="Google Shape;10945;p150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46" name="Google Shape;10946;p150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947" name="Google Shape;10947;p15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 2">
    <p:spTree>
      <p:nvGrpSpPr>
        <p:cNvPr id="1" name="Shape 10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49" name="Google Shape;10949;p150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50" name="Google Shape;10950;p150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51" name="Google Shape;10951;p15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952" name="Google Shape;10952;p15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53" name="Google Shape;10953;p15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954" name="Google Shape;10954;p150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55" name="Google Shape;10955;p150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56" name="Google Shape;10956;p150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957" name="Google Shape;10957;p15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 2">
    <p:spTree>
      <p:nvGrpSpPr>
        <p:cNvPr id="1" name="Shape 10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9" name="Google Shape;10959;p150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60" name="Google Shape;10960;p150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61" name="Google Shape;10961;p150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62" name="Google Shape;10962;p150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963" name="Google Shape;10963;p15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 2">
    <p:spTree>
      <p:nvGrpSpPr>
        <p:cNvPr id="1" name="Shape 109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5" name="Google Shape;10965;p150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966" name="Google Shape;10966;p15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967" name="Google Shape;10967;p150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68" name="Google Shape;10968;p150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69" name="Google Shape;10969;p150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 2">
    <p:spTree>
      <p:nvGrpSpPr>
        <p:cNvPr id="1" name="Shape 10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71" name="Google Shape;10971;p150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2" name="Google Shape;10972;p150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3" name="Google Shape;10973;p150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74" name="Google Shape;10974;p150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75" name="Google Shape;10975;p150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76" name="Google Shape;10976;p15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 2">
    <p:spTree>
      <p:nvGrpSpPr>
        <p:cNvPr id="1" name="Shape 10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78" name="Google Shape;10978;p150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79" name="Google Shape;10979;p150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80" name="Google Shape;10980;p150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981" name="Google Shape;10981;p15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82" name="Google Shape;10982;p15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983" name="Google Shape;10983;p150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84" name="Google Shape;10984;p150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85" name="Google Shape;10985;p150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986" name="Google Shape;10986;p15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 2">
    <p:spTree>
      <p:nvGrpSpPr>
        <p:cNvPr id="1" name="Shape 109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8" name="Google Shape;10988;p150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89" name="Google Shape;10989;p150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90" name="Google Shape;10990;p150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91" name="Google Shape;10991;p150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992" name="Google Shape;10992;p15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 2">
    <p:spTree>
      <p:nvGrpSpPr>
        <p:cNvPr id="1" name="Shape 10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94" name="Google Shape;10994;p150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995" name="Google Shape;10995;p15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996" name="Google Shape;10996;p150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97" name="Google Shape;10997;p150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8" name="Google Shape;10998;p150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73" name="Google Shape;9073;p13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74" name="Google Shape;9074;p13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75" name="Google Shape;9075;p13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76" name="Google Shape;9076;p13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77" name="Google Shape;9077;p13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78" name="Google Shape;9078;p13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79" name="Google Shape;9079;p13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80" name="Google Shape;9080;p13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81" name="Google Shape;9081;p13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82" name="Google Shape;9082;p13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 2">
    <p:spTree>
      <p:nvGrpSpPr>
        <p:cNvPr id="1" name="Shape 10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0" name="Google Shape;11000;p151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01" name="Google Shape;11001;p151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02" name="Google Shape;11002;p151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03" name="Google Shape;11003;p151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04" name="Google Shape;11004;p151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005" name="Google Shape;11005;p15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10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7" name="Google Shape;11007;p151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08" name="Google Shape;11008;p151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09" name="Google Shape;11009;p151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10" name="Google Shape;11010;p151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11" name="Google Shape;11011;p151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12" name="Google Shape;11012;p151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13" name="Google Shape;11013;p151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14" name="Google Shape;11014;p15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spTree>
      <p:nvGrpSpPr>
        <p:cNvPr id="1" name="Shape 11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16" name="Google Shape;11016;p151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17" name="Google Shape;11017;p151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18" name="Google Shape;11018;p151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19" name="Google Shape;11019;p151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20" name="Google Shape;11020;p15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21" name="Google Shape;11021;p151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22" name="Google Shape;11022;p151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1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4" name="Google Shape;11024;p151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25" name="Google Shape;11025;p151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26" name="Google Shape;11026;p151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27" name="Google Shape;11027;p151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28" name="Google Shape;11028;p151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29" name="Google Shape;11029;p151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30" name="Google Shape;11030;p15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2" name="Google Shape;11032;p15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33" name="Google Shape;11033;p15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34" name="Google Shape;11034;p15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35" name="Google Shape;11035;p15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36" name="Google Shape;11036;p15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37" name="Google Shape;11037;p15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38" name="Google Shape;11038;p15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39" name="Google Shape;11039;p15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40" name="Google Shape;11040;p15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41" name="Google Shape;11041;p15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42" name="Google Shape;11042;p15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043" name="Google Shape;11043;p15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2">
    <p:spTree>
      <p:nvGrpSpPr>
        <p:cNvPr id="1" name="Shape 11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45" name="Google Shape;11045;p151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46" name="Google Shape;11046;p151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7" name="Google Shape;11047;p151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48" name="Google Shape;11048;p15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49" name="Google Shape;11049;p15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50" name="Google Shape;11050;p15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51" name="Google Shape;11051;p15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52" name="Google Shape;11052;p15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53" name="Google Shape;11053;p15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54" name="Google Shape;11054;p15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55" name="Google Shape;11055;p15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056" name="Google Shape;11056;p151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8" name="Google Shape;11058;p15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59" name="Google Shape;11059;p15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060" name="Google Shape;11060;p15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61" name="Google Shape;11061;p15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62" name="Google Shape;11062;p15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63" name="Google Shape;11063;p15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64" name="Google Shape;11064;p15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065" name="Google Shape;11065;p151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66" name="Google Shape;11066;p151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67" name="Google Shape;11067;p15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68" name="Google Shape;11068;p15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70" name="Google Shape;11070;p15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71" name="Google Shape;11071;p15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72" name="Google Shape;11072;p15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73" name="Google Shape;11073;p15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74" name="Google Shape;11074;p15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075" name="Google Shape;11075;p15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76" name="Google Shape;11076;p151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77" name="Google Shape;11077;p151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78" name="Google Shape;11078;p15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79" name="Google Shape;11079;p15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80" name="Google Shape;11080;p15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81" name="Google Shape;11081;p15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82" name="Google Shape;11082;p15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84" name="Google Shape;11084;p15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85" name="Google Shape;11085;p15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86" name="Google Shape;11086;p15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87" name="Google Shape;11087;p15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88" name="Google Shape;11088;p15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089" name="Google Shape;11089;p15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90" name="Google Shape;11090;p15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91" name="Google Shape;11091;p15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92" name="Google Shape;11092;p15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1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94" name="Google Shape;11094;p151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095" name="Google Shape;11095;p151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96" name="Google Shape;11096;p151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97" name="Google Shape;11097;p151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98" name="Google Shape;11098;p151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9" name="Google Shape;11099;p151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100" name="Google Shape;11100;p15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101" name="Google Shape;11101;p15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OBJECT 2">
    <p:spTree>
      <p:nvGrpSpPr>
        <p:cNvPr id="1" name="Shape 9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84" name="Google Shape;9084;p1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85" name="Google Shape;9085;p1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86" name="Google Shape;9086;p1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87" name="Google Shape;9087;p1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88" name="Google Shape;9088;p1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89" name="Google Shape;9089;p13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90" name="Google Shape;9090;p13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91" name="Google Shape;9091;p13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92" name="Google Shape;9092;p1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93" name="Google Shape;9093;p1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03" name="Google Shape;11103;p15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04" name="Google Shape;11104;p15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05" name="Google Shape;11105;p15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06" name="Google Shape;11106;p15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07" name="Google Shape;11107;p15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08" name="Google Shape;11108;p15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09" name="Google Shape;11109;p15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10" name="Google Shape;11110;p15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2" name="Google Shape;11112;p152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13" name="Google Shape;11113;p152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14" name="Google Shape;11114;p152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15" name="Google Shape;11115;p15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116" name="Google Shape;11116;p152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117" name="Google Shape;11117;p15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18" name="Google Shape;11118;p152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19" name="Google Shape;11119;p15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spTree>
      <p:nvGrpSpPr>
        <p:cNvPr id="1" name="Shape 11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21" name="Google Shape;11121;p152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122" name="Google Shape;11122;p152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23" name="Google Shape;11123;p152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24" name="Google Shape;11124;p152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25" name="Google Shape;11125;p15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26" name="Google Shape;11126;p152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27" name="Google Shape;11127;p152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1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9" name="Google Shape;11129;p152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130" name="Google Shape;11130;p152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31" name="Google Shape;11131;p152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132" name="Google Shape;11132;p152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33" name="Google Shape;11133;p152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34" name="Google Shape;11134;p152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135" name="Google Shape;11135;p15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1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7" name="Google Shape;11137;p15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38" name="Google Shape;11138;p15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9" name="Google Shape;11139;p15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40" name="Google Shape;11140;p15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41" name="Google Shape;11141;p15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42" name="Google Shape;11142;p15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43" name="Google Shape;11143;p15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44" name="Google Shape;11144;p15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45" name="Google Shape;11145;p15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46" name="Google Shape;11146;p15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47" name="Google Shape;11147;p15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148" name="Google Shape;11148;p15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2">
    <p:spTree>
      <p:nvGrpSpPr>
        <p:cNvPr id="1" name="Shape 11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0" name="Google Shape;11150;p15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51" name="Google Shape;11151;p15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2" name="Google Shape;11152;p15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53" name="Google Shape;11153;p15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54" name="Google Shape;11154;p15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55" name="Google Shape;11155;p15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56" name="Google Shape;11156;p15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57" name="Google Shape;11157;p15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58" name="Google Shape;11158;p15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59" name="Google Shape;11159;p15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60" name="Google Shape;11160;p15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161" name="Google Shape;11161;p15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1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63" name="Google Shape;11163;p15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64" name="Google Shape;11164;p15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65" name="Google Shape;11165;p15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66" name="Google Shape;11166;p15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67" name="Google Shape;11167;p15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68" name="Google Shape;11168;p15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69" name="Google Shape;11169;p15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70" name="Google Shape;11170;p15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71" name="Google Shape;11171;p15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72" name="Google Shape;11172;p15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74" name="Google Shape;11174;p15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75" name="Google Shape;11175;p152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176" name="Google Shape;11176;p15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77" name="Google Shape;11177;p15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78" name="Google Shape;11178;p15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79" name="Google Shape;11179;p15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80" name="Google Shape;11180;p15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81" name="Google Shape;11181;p152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82" name="Google Shape;11182;p152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83" name="Google Shape;11183;p15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84" name="Google Shape;11184;p15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1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86" name="Google Shape;11186;p15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87" name="Google Shape;11187;p15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88" name="Google Shape;11188;p15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89" name="Google Shape;11189;p15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90" name="Google Shape;11190;p15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91" name="Google Shape;11191;p15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2" name="Google Shape;11192;p152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193" name="Google Shape;11193;p152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94" name="Google Shape;11194;p152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195" name="Google Shape;11195;p152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96" name="Google Shape;11196;p15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97" name="Google Shape;11197;p15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98" name="Google Shape;11198;p15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1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00" name="Google Shape;11200;p15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01" name="Google Shape;11201;p15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02" name="Google Shape;11202;p15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03" name="Google Shape;11203;p15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04" name="Google Shape;11204;p15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05" name="Google Shape;11205;p15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6" name="Google Shape;11206;p15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07" name="Google Shape;11207;p15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08" name="Google Shape;11208;p15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9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95" name="Google Shape;9095;p13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96" name="Google Shape;9096;p1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7" name="Google Shape;9097;p13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98" name="Google Shape;9098;p13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9" name="Google Shape;9099;p13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00" name="Google Shape;9100;p13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1" name="Google Shape;9101;p13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02" name="Google Shape;9102;p13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03" name="Google Shape;9103;p13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4" name="Google Shape;9104;p13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1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10" name="Google Shape;11210;p153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211" name="Google Shape;11211;p153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12" name="Google Shape;11212;p153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213" name="Google Shape;11213;p153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14" name="Google Shape;11214;p153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15" name="Google Shape;11215;p153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16" name="Google Shape;11216;p15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217" name="Google Shape;11217;p153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1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9" name="Google Shape;11219;p15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20" name="Google Shape;11220;p15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21" name="Google Shape;11221;p15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22" name="Google Shape;11222;p15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23" name="Google Shape;11223;p15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24" name="Google Shape;11224;p15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25" name="Google Shape;11225;p15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26" name="Google Shape;11226;p15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1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8" name="Google Shape;11228;p153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29" name="Google Shape;11229;p15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230" name="Google Shape;11230;p153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1231" name="Google Shape;11231;p153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232" name="Google Shape;11232;p153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1233" name="Google Shape;11233;p153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34" name="Google Shape;11234;p153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5" name="Google Shape;11235;p153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36" name="Google Shape;11236;p153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 2">
    <p:spTree>
      <p:nvGrpSpPr>
        <p:cNvPr id="1" name="Shape 11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8" name="Google Shape;11238;p153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39" name="Google Shape;11239;p15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240" name="Google Shape;11240;p153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1241" name="Google Shape;11241;p153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242" name="Google Shape;11242;p153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1243" name="Google Shape;11243;p153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44" name="Google Shape;11244;p153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45" name="Google Shape;11245;p153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46" name="Google Shape;11246;p153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 3">
    <p:spTree>
      <p:nvGrpSpPr>
        <p:cNvPr id="1" name="Shape 11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8" name="Google Shape;11248;p1534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49" name="Google Shape;11249;p15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250" name="Google Shape;11250;p1534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1251" name="Google Shape;11251;p1534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252" name="Google Shape;11252;p1534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1253" name="Google Shape;11253;p153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4" name="Google Shape;11254;p1534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55" name="Google Shape;11255;p153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6" name="Google Shape;11256;p153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">
  <p:cSld name="Table of Content">
    <p:spTree>
      <p:nvGrpSpPr>
        <p:cNvPr id="1" name="Shape 11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8" name="Google Shape;11258;p1535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59" name="Google Shape;11259;p1535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0" name="Google Shape;11260;p1535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61" name="Google Shape;11261;p1535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62" name="Google Shape;11262;p15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263" name="Google Shape;11263;p1535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Google Shape;11265;p153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66" name="Google Shape;11266;p153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7" name="Google Shape;11267;p15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268" name="Google Shape;11268;p15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9" name="Google Shape;11269;p15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70" name="Google Shape;11270;p153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71" name="Google Shape;11271;p153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72" name="Google Shape;11272;p153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73" name="Google Shape;11273;p15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 2 2">
    <p:spTree>
      <p:nvGrpSpPr>
        <p:cNvPr id="1" name="Shape 11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5" name="Google Shape;11275;p1537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76" name="Google Shape;11276;p15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277" name="Google Shape;11277;p1537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1278" name="Google Shape;11278;p1537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279" name="Google Shape;11279;p1537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1280" name="Google Shape;11280;p1537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81" name="Google Shape;11281;p1537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82" name="Google Shape;11282;p1537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83" name="Google Shape;11283;p1537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">
  <p:cSld name="Table of Content 2">
    <p:spTree>
      <p:nvGrpSpPr>
        <p:cNvPr id="1" name="Shape 11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5" name="Google Shape;11285;p1538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86" name="Google Shape;11286;p1538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87" name="Google Shape;11287;p1538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88" name="Google Shape;11288;p1538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89" name="Google Shape;11289;p15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290" name="Google Shape;11290;p1538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2" name="Google Shape;11292;p15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93" name="Google Shape;11293;p15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4" name="Google Shape;11294;p15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295" name="Google Shape;11295;p15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6" name="Google Shape;11296;p15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97" name="Google Shape;11297;p15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98" name="Google Shape;11298;p15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99" name="Google Shape;11299;p15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00" name="Google Shape;11300;p15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9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6" name="Google Shape;9106;p13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7" name="Google Shape;9107;p13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108" name="Google Shape;9108;p13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09" name="Google Shape;9109;p13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10" name="Google Shape;9110;p13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11" name="Google Shape;9111;p13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12" name="Google Shape;9112;p13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13" name="Google Shape;9113;p132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4" name="Google Shape;9114;p132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15" name="Google Shape;9115;p13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16" name="Google Shape;9116;p13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1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2" name="Google Shape;11302;p154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3" name="Google Shape;11303;p154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04" name="Google Shape;11304;p154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05" name="Google Shape;11305;p154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06" name="Google Shape;11306;p154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1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8" name="Google Shape;11308;p15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309" name="Google Shape;11309;p15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10" name="Google Shape;11310;p15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11" name="Google Shape;11311;p154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12" name="Google Shape;11312;p154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1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14" name="Google Shape;11314;p15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15" name="Google Shape;11315;p15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16" name="Google Shape;11316;p154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7" name="Google Shape;11317;p154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8" name="Google Shape;11318;p154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19" name="Google Shape;11319;p154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 2 3">
    <p:spTree>
      <p:nvGrpSpPr>
        <p:cNvPr id="1" name="Shape 1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1" name="Google Shape;11321;p154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322" name="Google Shape;11322;p15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323" name="Google Shape;11323;p154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1324" name="Google Shape;11324;p154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325" name="Google Shape;11325;p154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1326" name="Google Shape;11326;p154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27" name="Google Shape;11327;p154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28" name="Google Shape;11328;p154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29" name="Google Shape;11329;p154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 2">
    <p:spTree>
      <p:nvGrpSpPr>
        <p:cNvPr id="1" name="Shape 1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1" name="Google Shape;11331;p154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2" name="Google Shape;11332;p154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3" name="Google Shape;11333;p15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334" name="Google Shape;11334;p15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5" name="Google Shape;11335;p15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336" name="Google Shape;11336;p154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37" name="Google Shape;11337;p154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38" name="Google Shape;11338;p154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39" name="Google Shape;11339;p15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 2 4">
    <p:spTree>
      <p:nvGrpSpPr>
        <p:cNvPr id="1" name="Shape 11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1" name="Google Shape;11341;p1545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342" name="Google Shape;11342;p15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343" name="Google Shape;11343;p1545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1344" name="Google Shape;11344;p1545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345" name="Google Shape;11345;p1545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1346" name="Google Shape;11346;p1545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47" name="Google Shape;11347;p1545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48" name="Google Shape;11348;p1545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49" name="Google Shape;11349;p1545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1" name="Google Shape;11351;p1546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52" name="Google Shape;11352;p154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1353" name="Google Shape;11353;p154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354" name="Google Shape;11354;p15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55" name="Google Shape;11355;p15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1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7" name="Google Shape;11357;p1547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58" name="Google Shape;11358;p1547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359" name="Google Shape;11359;p1547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1360" name="Google Shape;11360;p154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361" name="Google Shape;11361;p15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2" name="Google Shape;11362;p15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VERYDAY - CONTENT ONLY">
  <p:cSld name="EVERYDAY - CONTENT ONLY">
    <p:spTree>
      <p:nvGrpSpPr>
        <p:cNvPr id="1" name="Shape 11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4" name="Google Shape;11364;p1548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65" name="Google Shape;11365;p1548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176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366" name="Google Shape;11366;p154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67" name="Google Shape;11367;p1548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176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368" name="Google Shape;11368;p154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9" name="Google Shape;11369;p154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370" name="Google Shape;11370;p1548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71" name="Google Shape;11371;p1548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372" name="Google Shape;11372;p15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1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74" name="Google Shape;11374;p154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75" name="Google Shape;11375;p154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76" name="Google Shape;11376;p154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7" name="Google Shape;11377;p15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78" name="Google Shape;11378;p15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79" name="Google Shape;11379;p15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80" name="Google Shape;11380;p15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1" name="Google Shape;11381;p15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82" name="Google Shape;11382;p15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83" name="Google Shape;11383;p15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84" name="Google Shape;11384;p15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85" name="Google Shape;11385;p154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9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8" name="Google Shape;9118;p13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19" name="Google Shape;9119;p13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20" name="Google Shape;9120;p13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21" name="Google Shape;9121;p13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22" name="Google Shape;9122;p13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23" name="Google Shape;9123;p13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24" name="Google Shape;9124;p13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25" name="Google Shape;9125;p13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26" name="Google Shape;9126;p13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27" name="Google Shape;9127;p13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VERYDAY - CONTENT ONLY">
  <p:cSld name="EVERYDAY - CONTENT ONLY 2">
    <p:spTree>
      <p:nvGrpSpPr>
        <p:cNvPr id="1" name="Shape 1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7" name="Google Shape;11387;p1550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88" name="Google Shape;11388;p1550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176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389" name="Google Shape;11389;p155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90" name="Google Shape;11390;p1550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176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391" name="Google Shape;11391;p155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92" name="Google Shape;11392;p155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393" name="Google Shape;11393;p1550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94" name="Google Shape;11394;p1550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395" name="Google Shape;11395;p15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1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7" name="Google Shape;11397;p155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98" name="Google Shape;11398;p155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99" name="Google Shape;11399;p155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400" name="Google Shape;11400;p15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401" name="Google Shape;11401;p155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402" name="Google Shape;11402;p15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03" name="Google Shape;11403;p15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404" name="Google Shape;11404;p15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spTree>
      <p:nvGrpSpPr>
        <p:cNvPr id="1" name="Shape 11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06" name="Google Shape;11406;p155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407" name="Google Shape;11407;p155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08" name="Google Shape;11408;p15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09" name="Google Shape;11409;p155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410" name="Google Shape;11410;p15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411" name="Google Shape;11411;p155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12" name="Google Shape;11412;p155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p15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415" name="Google Shape;11415;p15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416" name="Google Shape;11416;p15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417" name="Google Shape;11417;p15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18" name="Google Shape;11418;p15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19" name="Google Shape;11419;p15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420" name="Google Shape;11420;p15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1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2" name="Google Shape;11422;p15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23" name="Google Shape;11423;p15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24" name="Google Shape;11424;p15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25" name="Google Shape;11425;p15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26" name="Google Shape;11426;p15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27" name="Google Shape;11427;p15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28" name="Google Shape;11428;p15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29" name="Google Shape;11429;p15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30" name="Google Shape;11430;p15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1" name="Google Shape;11431;p15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32" name="Google Shape;11432;p15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33" name="Google Shape;11433;p15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VERYDAY - CONTENT ONLY">
  <p:cSld name="EVERYDAY - CONTENT ONLY 2 2">
    <p:spTree>
      <p:nvGrpSpPr>
        <p:cNvPr id="1" name="Shape 11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35" name="Google Shape;11435;p155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36" name="Google Shape;11436;p155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176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437" name="Google Shape;11437;p155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38" name="Google Shape;11438;p155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176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439" name="Google Shape;11439;p155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40" name="Google Shape;11440;p155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441" name="Google Shape;11441;p155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42" name="Google Shape;11442;p155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443" name="Google Shape;11443;p15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 2">
    <p:spTree>
      <p:nvGrpSpPr>
        <p:cNvPr id="1" name="Shape 11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45" name="Google Shape;11445;p155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46" name="Google Shape;11446;p155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47" name="Google Shape;11447;p155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448" name="Google Shape;11448;p15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449" name="Google Shape;11449;p155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450" name="Google Shape;11450;p15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51" name="Google Shape;11451;p155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452" name="Google Shape;11452;p15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 2">
    <p:spTree>
      <p:nvGrpSpPr>
        <p:cNvPr id="1" name="Shape 11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54" name="Google Shape;11454;p155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455" name="Google Shape;11455;p155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56" name="Google Shape;11456;p155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57" name="Google Shape;11457;p155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458" name="Google Shape;11458;p15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459" name="Google Shape;11459;p155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60" name="Google Shape;11460;p155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 2">
    <p:spTree>
      <p:nvGrpSpPr>
        <p:cNvPr id="1" name="Shape 11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2" name="Google Shape;11462;p155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463" name="Google Shape;11463;p155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464" name="Google Shape;11464;p155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465" name="Google Shape;11465;p155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66" name="Google Shape;11466;p155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67" name="Google Shape;11467;p155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468" name="Google Shape;11468;p15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1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70" name="Google Shape;11470;p15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71" name="Google Shape;11471;p15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72" name="Google Shape;11472;p15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73" name="Google Shape;11473;p15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74" name="Google Shape;11474;p15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75" name="Google Shape;11475;p15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76" name="Google Shape;11476;p15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77" name="Google Shape;11477;p15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spTree>
      <p:nvGrpSpPr>
        <p:cNvPr id="1" name="Shape 9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29" name="Google Shape;9129;p132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130" name="Google Shape;9130;p132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31" name="Google Shape;9131;p13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32" name="Google Shape;9132;p132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133" name="Google Shape;9133;p1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134" name="Google Shape;9134;p132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35" name="Google Shape;9135;p132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1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79" name="Google Shape;11479;p156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80" name="Google Shape;11480;p156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81" name="Google Shape;11481;p156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82" name="Google Shape;11482;p15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3" name="Google Shape;11483;p15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84" name="Google Shape;11484;p15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85" name="Google Shape;11485;p15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6" name="Google Shape;11486;p15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87" name="Google Shape;11487;p15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88" name="Google Shape;11488;p15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89" name="Google Shape;11489;p15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90" name="Google Shape;11490;p156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1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92" name="Google Shape;11492;p15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93" name="Google Shape;11493;p156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494" name="Google Shape;11494;p15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95" name="Google Shape;11495;p15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6" name="Google Shape;11496;p15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97" name="Google Shape;11497;p15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98" name="Google Shape;11498;p15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99" name="Google Shape;11499;p156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00" name="Google Shape;11500;p156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01" name="Google Shape;11501;p15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02" name="Google Shape;11502;p15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1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04" name="Google Shape;11504;p15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05" name="Google Shape;11505;p15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06" name="Google Shape;11506;p15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7" name="Google Shape;11507;p15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08" name="Google Shape;11508;p15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09" name="Google Shape;11509;p15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10" name="Google Shape;11510;p156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11" name="Google Shape;11511;p156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12" name="Google Shape;11512;p156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13" name="Google Shape;11513;p156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14" name="Google Shape;11514;p15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15" name="Google Shape;11515;p15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16" name="Google Shape;11516;p15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1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18" name="Google Shape;11518;p15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19" name="Google Shape;11519;p15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20" name="Google Shape;11520;p15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21" name="Google Shape;11521;p15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22" name="Google Shape;11522;p15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3" name="Google Shape;11523;p15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24" name="Google Shape;11524;p15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25" name="Google Shape;11525;p15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26" name="Google Shape;11526;p15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1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28" name="Google Shape;11528;p156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529" name="Google Shape;11529;p156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30" name="Google Shape;11530;p156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531" name="Google Shape;11531;p156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32" name="Google Shape;11532;p156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33" name="Google Shape;11533;p156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534" name="Google Shape;11534;p15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535" name="Google Shape;11535;p156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1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37" name="Google Shape;11537;p15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38" name="Google Shape;11538;p15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39" name="Google Shape;11539;p15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40" name="Google Shape;11540;p15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41" name="Google Shape;11541;p15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42" name="Google Shape;11542;p15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43" name="Google Shape;11543;p15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44" name="Google Shape;11544;p15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2">
    <p:spTree>
      <p:nvGrpSpPr>
        <p:cNvPr id="1" name="Shape 115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6" name="Google Shape;11546;p15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47" name="Google Shape;11547;p15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48" name="Google Shape;11548;p15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9" name="Google Shape;11549;p15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0" name="Google Shape;11550;p15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51" name="Google Shape;11551;p15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52" name="Google Shape;11552;p15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53" name="Google Shape;11553;p15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54" name="Google Shape;11554;p15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55" name="Google Shape;11555;p15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56" name="Google Shape;11556;p15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557" name="Google Shape;11557;p15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11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59" name="Google Shape;11559;p1567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60" name="Google Shape;11560;p1567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1561" name="Google Shape;11561;p1567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1562" name="Google Shape;11562;p1567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63" name="Google Shape;11563;p1567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1564" name="Google Shape;11564;p156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1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6" name="Google Shape;11566;p156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67" name="Google Shape;11567;p156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68" name="Google Shape;11568;p156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569" name="Google Shape;11569;p15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570" name="Google Shape;11570;p156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571" name="Google Shape;11571;p15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72" name="Google Shape;11572;p156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573" name="Google Shape;11573;p15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spTree>
      <p:nvGrpSpPr>
        <p:cNvPr id="1" name="Shape 11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75" name="Google Shape;11575;p156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576" name="Google Shape;11576;p156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77" name="Google Shape;11577;p15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78" name="Google Shape;11578;p156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579" name="Google Shape;11579;p15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580" name="Google Shape;11580;p156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81" name="Google Shape;11581;p156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9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37" name="Google Shape;9137;p132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138" name="Google Shape;9138;p132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139" name="Google Shape;9139;p132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140" name="Google Shape;9140;p132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41" name="Google Shape;9141;p132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42" name="Google Shape;9142;p132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143" name="Google Shape;9143;p13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3" name="Google Shape;11583;p157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584" name="Google Shape;11584;p157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585" name="Google Shape;11585;p157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586" name="Google Shape;11586;p157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87" name="Google Shape;11587;p157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588" name="Google Shape;11588;p157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89" name="Google Shape;11589;p15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1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91" name="Google Shape;11591;p15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92" name="Google Shape;11592;p15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93" name="Google Shape;11593;p15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94" name="Google Shape;11594;p15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95" name="Google Shape;11595;p15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6" name="Google Shape;11596;p15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97" name="Google Shape;11597;p15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98" name="Google Shape;11598;p15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99" name="Google Shape;11599;p15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00" name="Google Shape;11600;p15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01" name="Google Shape;11601;p15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602" name="Google Shape;11602;p157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1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4" name="Google Shape;11604;p15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05" name="Google Shape;11605;p15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06" name="Google Shape;11606;p15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07" name="Google Shape;11607;p15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08" name="Google Shape;11608;p15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09" name="Google Shape;11609;p15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10" name="Google Shape;11610;p15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11" name="Google Shape;11611;p15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12" name="Google Shape;11612;p15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13" name="Google Shape;11613;p15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14" name="Google Shape;11614;p15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615" name="Google Shape;11615;p15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11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7" name="Google Shape;11617;p15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18" name="Google Shape;11618;p15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19" name="Google Shape;11619;p15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20" name="Google Shape;11620;p15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21" name="Google Shape;11621;p15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22" name="Google Shape;11622;p15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23" name="Google Shape;11623;p15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4" name="Google Shape;11624;p15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25" name="Google Shape;11625;p15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26" name="Google Shape;11626;p15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1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28" name="Google Shape;11628;p15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29" name="Google Shape;11629;p15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630" name="Google Shape;11630;p15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31" name="Google Shape;11631;p15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2" name="Google Shape;11632;p15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33" name="Google Shape;11633;p15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34" name="Google Shape;11634;p15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35" name="Google Shape;11635;p157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36" name="Google Shape;11636;p157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37" name="Google Shape;11637;p15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38" name="Google Shape;11638;p15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1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40" name="Google Shape;11640;p15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41" name="Google Shape;11641;p15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42" name="Google Shape;11642;p15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3" name="Google Shape;11643;p15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44" name="Google Shape;11644;p15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45" name="Google Shape;11645;p15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46" name="Google Shape;11646;p157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647" name="Google Shape;11647;p157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48" name="Google Shape;11648;p157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649" name="Google Shape;11649;p157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50" name="Google Shape;11650;p15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51" name="Google Shape;11651;p15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52" name="Google Shape;11652;p15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1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54" name="Google Shape;11654;p15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55" name="Google Shape;11655;p15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56" name="Google Shape;11656;p15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57" name="Google Shape;11657;p15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8" name="Google Shape;11658;p15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59" name="Google Shape;11659;p15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60" name="Google Shape;11660;p15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61" name="Google Shape;11661;p15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62" name="Google Shape;11662;p15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1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64" name="Google Shape;11664;p157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665" name="Google Shape;11665;p157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66" name="Google Shape;11666;p157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67" name="Google Shape;11667;p157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68" name="Google Shape;11668;p157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9" name="Google Shape;11669;p157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670" name="Google Shape;11670;p15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671" name="Google Shape;11671;p15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1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" name="Google Shape;11673;p15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74" name="Google Shape;11674;p15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75" name="Google Shape;11675;p15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76" name="Google Shape;11676;p15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77" name="Google Shape;11677;p15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78" name="Google Shape;11678;p15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79" name="Google Shape;11679;p15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80" name="Google Shape;11680;p15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2">
    <p:spTree>
      <p:nvGrpSpPr>
        <p:cNvPr id="1" name="Shape 11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2" name="Google Shape;11682;p15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83" name="Google Shape;11683;p15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84" name="Google Shape;11684;p15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85" name="Google Shape;11685;p15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6" name="Google Shape;11686;p15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87" name="Google Shape;11687;p15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88" name="Google Shape;11688;p15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89" name="Google Shape;11689;p15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90" name="Google Shape;11690;p15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91" name="Google Shape;11691;p15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92" name="Google Shape;11692;p15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693" name="Google Shape;11693;p15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9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45" name="Google Shape;9145;p13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46" name="Google Shape;9146;p13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47" name="Google Shape;9147;p13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48" name="Google Shape;9148;p13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49" name="Google Shape;9149;p13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50" name="Google Shape;9150;p13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51" name="Google Shape;9151;p13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52" name="Google Shape;9152;p13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53" name="Google Shape;9153;p13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54" name="Google Shape;9154;p13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 2">
    <p:spTree>
      <p:nvGrpSpPr>
        <p:cNvPr id="1" name="Shape 11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95" name="Google Shape;11695;p15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6" name="Google Shape;11696;p15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697" name="Google Shape;11697;p15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98" name="Google Shape;11698;p15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99" name="Google Shape;11699;p15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00" name="Google Shape;11700;p15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01" name="Google Shape;11701;p15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02" name="Google Shape;11702;p158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03" name="Google Shape;11703;p158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04" name="Google Shape;11704;p15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05" name="Google Shape;11705;p15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 2">
    <p:spTree>
      <p:nvGrpSpPr>
        <p:cNvPr id="1" name="Shape 11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07" name="Google Shape;11707;p15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08" name="Google Shape;11708;p15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09" name="Google Shape;11709;p15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10" name="Google Shape;11710;p15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11" name="Google Shape;11711;p15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12" name="Google Shape;11712;p15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13" name="Google Shape;11713;p158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14" name="Google Shape;11714;p158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15" name="Google Shape;11715;p158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16" name="Google Shape;11716;p158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17" name="Google Shape;11717;p15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18" name="Google Shape;11718;p15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19" name="Google Shape;11719;p15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 2">
    <p:spTree>
      <p:nvGrpSpPr>
        <p:cNvPr id="1" name="Shape 11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21" name="Google Shape;11721;p15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22" name="Google Shape;11722;p15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23" name="Google Shape;11723;p15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24" name="Google Shape;11724;p15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25" name="Google Shape;11725;p15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26" name="Google Shape;11726;p15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27" name="Google Shape;11727;p15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28" name="Google Shape;11728;p15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29" name="Google Shape;11729;p15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 2">
    <p:spTree>
      <p:nvGrpSpPr>
        <p:cNvPr id="1" name="Shape 1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31" name="Google Shape;11731;p158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32" name="Google Shape;11732;p158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33" name="Google Shape;11733;p158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34" name="Google Shape;11734;p158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35" name="Google Shape;11735;p158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36" name="Google Shape;11736;p158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37" name="Google Shape;11737;p15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38" name="Google Shape;11738;p15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 2">
    <p:spTree>
      <p:nvGrpSpPr>
        <p:cNvPr id="1" name="Shape 1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0" name="Google Shape;11740;p15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41" name="Google Shape;11741;p15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42" name="Google Shape;11742;p15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43" name="Google Shape;11743;p15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44" name="Google Shape;11744;p15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45" name="Google Shape;11745;p15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46" name="Google Shape;11746;p15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47" name="Google Shape;11747;p15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3">
    <p:spTree>
      <p:nvGrpSpPr>
        <p:cNvPr id="1" name="Shape 11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9" name="Google Shape;11749;p158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50" name="Google Shape;11750;p15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51" name="Google Shape;11751;p15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52" name="Google Shape;11752;p15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53" name="Google Shape;11753;p15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54" name="Google Shape;11754;p15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55" name="Google Shape;11755;p15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56" name="Google Shape;11756;p15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57" name="Google Shape;11757;p15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58" name="Google Shape;11758;p15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59" name="Google Shape;11759;p15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760" name="Google Shape;11760;p15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 2">
    <p:spTree>
      <p:nvGrpSpPr>
        <p:cNvPr id="1" name="Shape 11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2" name="Google Shape;11762;p15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63" name="Google Shape;11763;p15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4" name="Google Shape;11764;p15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765" name="Google Shape;11765;p15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766" name="Google Shape;11766;p15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767" name="Google Shape;11767;p15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68" name="Google Shape;11768;p15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769" name="Google Shape;11769;p15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 2">
    <p:spTree>
      <p:nvGrpSpPr>
        <p:cNvPr id="1" name="Shape 1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71" name="Google Shape;11771;p15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772" name="Google Shape;11772;p15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73" name="Google Shape;11773;p15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74" name="Google Shape;11774;p15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775" name="Google Shape;11775;p15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776" name="Google Shape;11776;p15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77" name="Google Shape;11777;p15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 2">
    <p:spTree>
      <p:nvGrpSpPr>
        <p:cNvPr id="1" name="Shape 1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9" name="Google Shape;11779;p15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80" name="Google Shape;11780;p15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781" name="Google Shape;11781;p15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782" name="Google Shape;11782;p15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83" name="Google Shape;11783;p15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84" name="Google Shape;11784;p15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785" name="Google Shape;11785;p15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 2">
    <p:spTree>
      <p:nvGrpSpPr>
        <p:cNvPr id="1" name="Shape 11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7" name="Google Shape;11787;p15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88" name="Google Shape;11788;p15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89" name="Google Shape;11789;p15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90" name="Google Shape;11790;p15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91" name="Google Shape;11791;p15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92" name="Google Shape;11792;p15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93" name="Google Shape;11793;p15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94" name="Google Shape;11794;p15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95" name="Google Shape;11795;p15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96" name="Google Shape;11796;p15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97" name="Google Shape;11797;p15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798" name="Google Shape;11798;p15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9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56" name="Google Shape;9156;p13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57" name="Google Shape;9157;p13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58" name="Google Shape;9158;p13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59" name="Google Shape;9159;p13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60" name="Google Shape;9160;p13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61" name="Google Shape;9161;p13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62" name="Google Shape;9162;p13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63" name="Google Shape;9163;p13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64" name="Google Shape;9164;p13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65" name="Google Shape;9165;p13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 2">
    <p:spTree>
      <p:nvGrpSpPr>
        <p:cNvPr id="1" name="Shape 11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0" name="Google Shape;11800;p15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01" name="Google Shape;11801;p15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2" name="Google Shape;11802;p15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3" name="Google Shape;11803;p15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04" name="Google Shape;11804;p15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05" name="Google Shape;11805;p15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06" name="Google Shape;11806;p15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07" name="Google Shape;11807;p15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08" name="Google Shape;11808;p15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09" name="Google Shape;11809;p15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10" name="Google Shape;11810;p15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811" name="Google Shape;11811;p15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 2">
    <p:spTree>
      <p:nvGrpSpPr>
        <p:cNvPr id="1" name="Shape 11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13" name="Google Shape;11813;p15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14" name="Google Shape;11814;p15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15" name="Google Shape;11815;p15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16" name="Google Shape;11816;p15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17" name="Google Shape;11817;p15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18" name="Google Shape;11818;p15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19" name="Google Shape;11819;p15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20" name="Google Shape;11820;p15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21" name="Google Shape;11821;p15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2" name="Google Shape;11822;p15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 2">
    <p:spTree>
      <p:nvGrpSpPr>
        <p:cNvPr id="1" name="Shape 11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24" name="Google Shape;11824;p15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25" name="Google Shape;11825;p15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826" name="Google Shape;11826;p15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27" name="Google Shape;11827;p15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28" name="Google Shape;11828;p15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29" name="Google Shape;11829;p15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30" name="Google Shape;11830;p15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31" name="Google Shape;11831;p15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32" name="Google Shape;11832;p15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33" name="Google Shape;11833;p15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34" name="Google Shape;11834;p15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 2">
    <p:spTree>
      <p:nvGrpSpPr>
        <p:cNvPr id="1" name="Shape 11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36" name="Google Shape;11836;p15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37" name="Google Shape;11837;p15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38" name="Google Shape;11838;p15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39" name="Google Shape;11839;p15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40" name="Google Shape;11840;p15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41" name="Google Shape;11841;p15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42" name="Google Shape;11842;p15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843" name="Google Shape;11843;p15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44" name="Google Shape;11844;p15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845" name="Google Shape;11845;p15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46" name="Google Shape;11846;p15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47" name="Google Shape;11847;p15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48" name="Google Shape;11848;p15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 2">
    <p:spTree>
      <p:nvGrpSpPr>
        <p:cNvPr id="1" name="Shape 11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50" name="Google Shape;11850;p15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51" name="Google Shape;11851;p15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2" name="Google Shape;11852;p15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53" name="Google Shape;11853;p15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54" name="Google Shape;11854;p15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55" name="Google Shape;11855;p15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56" name="Google Shape;11856;p15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57" name="Google Shape;11857;p15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58" name="Google Shape;11858;p15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 2">
    <p:spTree>
      <p:nvGrpSpPr>
        <p:cNvPr id="1" name="Shape 118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60" name="Google Shape;11860;p15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861" name="Google Shape;11861;p15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62" name="Google Shape;11862;p15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863" name="Google Shape;11863;p15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64" name="Google Shape;11864;p15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65" name="Google Shape;11865;p15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866" name="Google Shape;11866;p15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867" name="Google Shape;11867;p15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 2">
    <p:spTree>
      <p:nvGrpSpPr>
        <p:cNvPr id="1" name="Shape 11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69" name="Google Shape;11869;p15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70" name="Google Shape;11870;p15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71" name="Google Shape;11871;p15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72" name="Google Shape;11872;p15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73" name="Google Shape;11873;p15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74" name="Google Shape;11874;p15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75" name="Google Shape;11875;p15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6" name="Google Shape;11876;p15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 2">
    <p:spTree>
      <p:nvGrpSpPr>
        <p:cNvPr id="1" name="Shape 1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" name="Google Shape;11878;p1597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79" name="Google Shape;11879;p159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880" name="Google Shape;11880;p15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1881" name="Google Shape;11881;p1597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882" name="Google Shape;11882;p159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1883" name="Google Shape;11883;p1597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84" name="Google Shape;11884;p1597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85" name="Google Shape;11885;p1597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86" name="Google Shape;11886;p15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87" name="Google Shape;11887;p159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88" name="Google Shape;11888;p15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1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0" name="Google Shape;11890;p15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91" name="Google Shape;11891;p15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92" name="Google Shape;11892;p15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93" name="Google Shape;11893;p15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94" name="Google Shape;11894;p15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95" name="Google Shape;11895;p15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96" name="Google Shape;11896;p15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97" name="Google Shape;11897;p15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98" name="Google Shape;11898;p15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99" name="Google Shape;11899;p15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00" name="Google Shape;11900;p15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901" name="Google Shape;11901;p159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2">
    <p:spTree>
      <p:nvGrpSpPr>
        <p:cNvPr id="1" name="Shape 11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3" name="Google Shape;11903;p15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4" name="Google Shape;11904;p15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5" name="Google Shape;11905;p15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06" name="Google Shape;11906;p15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07" name="Google Shape;11907;p15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08" name="Google Shape;11908;p15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09" name="Google Shape;11909;p15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10" name="Google Shape;11910;p15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11" name="Google Shape;11911;p15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12" name="Google Shape;11912;p15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13" name="Google Shape;11913;p15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914" name="Google Shape;11914;p15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 2">
    <p:spTree>
      <p:nvGrpSpPr>
        <p:cNvPr id="1" name="Shape 9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67" name="Google Shape;9167;p13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68" name="Google Shape;9168;p13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69" name="Google Shape;9169;p13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70" name="Google Shape;9170;p13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71" name="Google Shape;9171;p13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72" name="Google Shape;9172;p13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3" name="Google Shape;9173;p133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74" name="Google Shape;9174;p13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75" name="Google Shape;9175;p13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76" name="Google Shape;9176;p13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19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6" name="Google Shape;11916;p1600"/>
          <p:cNvSpPr/>
          <p:nvPr/>
        </p:nvSpPr>
        <p:spPr>
          <a:xfrm flipH="1">
            <a:off x="-17261" y="2735667"/>
            <a:ext cx="12226784" cy="4153423"/>
          </a:xfrm>
          <a:custGeom>
            <a:avLst/>
            <a:gdLst/>
            <a:ahLst/>
            <a:cxnLst/>
            <a:rect l="l" t="t" r="r" b="b"/>
            <a:pathLst>
              <a:path w="285317" h="115437" extrusionOk="0">
                <a:moveTo>
                  <a:pt x="1114" y="1"/>
                </a:moveTo>
                <a:cubicBezTo>
                  <a:pt x="743" y="1"/>
                  <a:pt x="371" y="4"/>
                  <a:pt x="0" y="10"/>
                </a:cubicBezTo>
                <a:lnTo>
                  <a:pt x="0" y="115437"/>
                </a:lnTo>
                <a:lnTo>
                  <a:pt x="285316" y="115437"/>
                </a:lnTo>
                <a:lnTo>
                  <a:pt x="285316" y="16649"/>
                </a:lnTo>
                <a:cubicBezTo>
                  <a:pt x="275981" y="17517"/>
                  <a:pt x="266737" y="22219"/>
                  <a:pt x="260505" y="29363"/>
                </a:cubicBezTo>
                <a:cubicBezTo>
                  <a:pt x="255233" y="35366"/>
                  <a:pt x="250873" y="43355"/>
                  <a:pt x="243067" y="45021"/>
                </a:cubicBezTo>
                <a:cubicBezTo>
                  <a:pt x="241949" y="45253"/>
                  <a:pt x="240817" y="45339"/>
                  <a:pt x="239680" y="45339"/>
                </a:cubicBezTo>
                <a:cubicBezTo>
                  <a:pt x="237914" y="45339"/>
                  <a:pt x="236134" y="45133"/>
                  <a:pt x="234370" y="44952"/>
                </a:cubicBezTo>
                <a:cubicBezTo>
                  <a:pt x="231734" y="44685"/>
                  <a:pt x="229019" y="44498"/>
                  <a:pt x="226316" y="44498"/>
                </a:cubicBezTo>
                <a:cubicBezTo>
                  <a:pt x="219329" y="44498"/>
                  <a:pt x="212416" y="45750"/>
                  <a:pt x="207117" y="50111"/>
                </a:cubicBezTo>
                <a:cubicBezTo>
                  <a:pt x="200087" y="55886"/>
                  <a:pt x="197850" y="65495"/>
                  <a:pt x="194997" y="74169"/>
                </a:cubicBezTo>
                <a:cubicBezTo>
                  <a:pt x="192166" y="82842"/>
                  <a:pt x="187168" y="92178"/>
                  <a:pt x="178288" y="94255"/>
                </a:cubicBezTo>
                <a:cubicBezTo>
                  <a:pt x="177041" y="94543"/>
                  <a:pt x="175796" y="94669"/>
                  <a:pt x="174551" y="94669"/>
                </a:cubicBezTo>
                <a:cubicBezTo>
                  <a:pt x="165708" y="94669"/>
                  <a:pt x="156917" y="88301"/>
                  <a:pt x="148045" y="88301"/>
                </a:cubicBezTo>
                <a:cubicBezTo>
                  <a:pt x="146875" y="88301"/>
                  <a:pt x="145703" y="88412"/>
                  <a:pt x="144530" y="88663"/>
                </a:cubicBezTo>
                <a:cubicBezTo>
                  <a:pt x="141060" y="89393"/>
                  <a:pt x="137956" y="91333"/>
                  <a:pt x="134646" y="92612"/>
                </a:cubicBezTo>
                <a:cubicBezTo>
                  <a:pt x="131720" y="93737"/>
                  <a:pt x="128631" y="94264"/>
                  <a:pt x="125532" y="94264"/>
                </a:cubicBezTo>
                <a:cubicBezTo>
                  <a:pt x="113985" y="94264"/>
                  <a:pt x="102305" y="86940"/>
                  <a:pt x="98400" y="75926"/>
                </a:cubicBezTo>
                <a:cubicBezTo>
                  <a:pt x="97190" y="72525"/>
                  <a:pt x="96642" y="68873"/>
                  <a:pt x="94930" y="65678"/>
                </a:cubicBezTo>
                <a:cubicBezTo>
                  <a:pt x="90993" y="58324"/>
                  <a:pt x="81998" y="55419"/>
                  <a:pt x="73534" y="55419"/>
                </a:cubicBezTo>
                <a:cubicBezTo>
                  <a:pt x="72724" y="55419"/>
                  <a:pt x="71919" y="55446"/>
                  <a:pt x="71124" y="55498"/>
                </a:cubicBezTo>
                <a:cubicBezTo>
                  <a:pt x="62016" y="56114"/>
                  <a:pt x="53160" y="59195"/>
                  <a:pt x="44030" y="59264"/>
                </a:cubicBezTo>
                <a:cubicBezTo>
                  <a:pt x="43906" y="59265"/>
                  <a:pt x="43782" y="59266"/>
                  <a:pt x="43658" y="59266"/>
                </a:cubicBezTo>
                <a:cubicBezTo>
                  <a:pt x="41834" y="59266"/>
                  <a:pt x="39970" y="59093"/>
                  <a:pt x="38347" y="58260"/>
                </a:cubicBezTo>
                <a:cubicBezTo>
                  <a:pt x="34261" y="56205"/>
                  <a:pt x="33120" y="50727"/>
                  <a:pt x="33964" y="46208"/>
                </a:cubicBezTo>
                <a:cubicBezTo>
                  <a:pt x="34809" y="41688"/>
                  <a:pt x="37091" y="37557"/>
                  <a:pt x="37958" y="33038"/>
                </a:cubicBezTo>
                <a:cubicBezTo>
                  <a:pt x="40241" y="21169"/>
                  <a:pt x="31864" y="9117"/>
                  <a:pt x="20908" y="3981"/>
                </a:cubicBezTo>
                <a:cubicBezTo>
                  <a:pt x="14632" y="1016"/>
                  <a:pt x="7904" y="1"/>
                  <a:pt x="1114" y="1"/>
                </a:cubicBezTo>
                <a:close/>
              </a:path>
            </a:pathLst>
          </a:custGeom>
          <a:solidFill>
            <a:schemeClr val="lt1">
              <a:alpha val="40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17" name="Google Shape;11917;p1600"/>
          <p:cNvSpPr txBox="1">
            <a:spLocks noGrp="1"/>
          </p:cNvSpPr>
          <p:nvPr>
            <p:ph type="title"/>
          </p:nvPr>
        </p:nvSpPr>
        <p:spPr>
          <a:xfrm>
            <a:off x="2540033" y="1086200"/>
            <a:ext cx="7112000" cy="1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6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1918" name="Google Shape;11918;p1600"/>
          <p:cNvSpPr txBox="1">
            <a:spLocks noGrp="1"/>
          </p:cNvSpPr>
          <p:nvPr>
            <p:ph type="subTitle" idx="1"/>
          </p:nvPr>
        </p:nvSpPr>
        <p:spPr>
          <a:xfrm>
            <a:off x="2893867" y="2208600"/>
            <a:ext cx="6404400" cy="17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9" name="Google Shape;11919;p1600"/>
          <p:cNvSpPr/>
          <p:nvPr/>
        </p:nvSpPr>
        <p:spPr>
          <a:xfrm flipH="1">
            <a:off x="279689" y="2690400"/>
            <a:ext cx="273520" cy="273520"/>
          </a:xfrm>
          <a:custGeom>
            <a:avLst/>
            <a:gdLst/>
            <a:ahLst/>
            <a:cxnLst/>
            <a:rect l="l" t="t" r="r" b="b"/>
            <a:pathLst>
              <a:path w="7602" h="7602" extrusionOk="0">
                <a:moveTo>
                  <a:pt x="2648" y="1"/>
                </a:moveTo>
                <a:cubicBezTo>
                  <a:pt x="2420" y="1"/>
                  <a:pt x="2237" y="183"/>
                  <a:pt x="2237" y="434"/>
                </a:cubicBezTo>
                <a:lnTo>
                  <a:pt x="2237" y="1804"/>
                </a:lnTo>
                <a:cubicBezTo>
                  <a:pt x="2237" y="2032"/>
                  <a:pt x="2032" y="2215"/>
                  <a:pt x="1804" y="2215"/>
                </a:cubicBezTo>
                <a:lnTo>
                  <a:pt x="434" y="2215"/>
                </a:lnTo>
                <a:cubicBezTo>
                  <a:pt x="206" y="2215"/>
                  <a:pt x="0" y="2420"/>
                  <a:pt x="0" y="2648"/>
                </a:cubicBezTo>
                <a:lnTo>
                  <a:pt x="0" y="4954"/>
                </a:lnTo>
                <a:cubicBezTo>
                  <a:pt x="0" y="5182"/>
                  <a:pt x="206" y="5387"/>
                  <a:pt x="434" y="5387"/>
                </a:cubicBezTo>
                <a:lnTo>
                  <a:pt x="1804" y="5387"/>
                </a:lnTo>
                <a:cubicBezTo>
                  <a:pt x="2032" y="5387"/>
                  <a:pt x="2237" y="5570"/>
                  <a:pt x="2237" y="5798"/>
                </a:cubicBezTo>
                <a:lnTo>
                  <a:pt x="2237" y="7168"/>
                </a:lnTo>
                <a:cubicBezTo>
                  <a:pt x="2237" y="7419"/>
                  <a:pt x="2420" y="7601"/>
                  <a:pt x="2648" y="7601"/>
                </a:cubicBezTo>
                <a:lnTo>
                  <a:pt x="4976" y="7601"/>
                </a:lnTo>
                <a:cubicBezTo>
                  <a:pt x="5205" y="7601"/>
                  <a:pt x="5387" y="7419"/>
                  <a:pt x="5387" y="7168"/>
                </a:cubicBezTo>
                <a:lnTo>
                  <a:pt x="5387" y="5798"/>
                </a:lnTo>
                <a:cubicBezTo>
                  <a:pt x="5387" y="5570"/>
                  <a:pt x="5570" y="5387"/>
                  <a:pt x="5798" y="5387"/>
                </a:cubicBezTo>
                <a:lnTo>
                  <a:pt x="7190" y="5387"/>
                </a:lnTo>
                <a:cubicBezTo>
                  <a:pt x="7419" y="5387"/>
                  <a:pt x="7601" y="5182"/>
                  <a:pt x="7601" y="4954"/>
                </a:cubicBezTo>
                <a:lnTo>
                  <a:pt x="7601" y="2648"/>
                </a:lnTo>
                <a:cubicBezTo>
                  <a:pt x="7601" y="2420"/>
                  <a:pt x="7419" y="2215"/>
                  <a:pt x="7190" y="2215"/>
                </a:cubicBezTo>
                <a:lnTo>
                  <a:pt x="5798" y="2215"/>
                </a:lnTo>
                <a:cubicBezTo>
                  <a:pt x="5570" y="2215"/>
                  <a:pt x="5387" y="2032"/>
                  <a:pt x="5387" y="1804"/>
                </a:cubicBezTo>
                <a:lnTo>
                  <a:pt x="5387" y="434"/>
                </a:lnTo>
                <a:cubicBezTo>
                  <a:pt x="5387" y="183"/>
                  <a:pt x="5205" y="1"/>
                  <a:pt x="4976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20" name="Google Shape;11920;p1600"/>
          <p:cNvSpPr/>
          <p:nvPr/>
        </p:nvSpPr>
        <p:spPr>
          <a:xfrm flipH="1">
            <a:off x="11819097" y="3465518"/>
            <a:ext cx="598743" cy="2244684"/>
          </a:xfrm>
          <a:custGeom>
            <a:avLst/>
            <a:gdLst/>
            <a:ahLst/>
            <a:cxnLst/>
            <a:rect l="l" t="t" r="r" b="b"/>
            <a:pathLst>
              <a:path w="16641" h="62387" extrusionOk="0">
                <a:moveTo>
                  <a:pt x="5438" y="1"/>
                </a:moveTo>
                <a:cubicBezTo>
                  <a:pt x="5170" y="1"/>
                  <a:pt x="4901" y="24"/>
                  <a:pt x="4634" y="73"/>
                </a:cubicBezTo>
                <a:cubicBezTo>
                  <a:pt x="2831" y="415"/>
                  <a:pt x="1393" y="1853"/>
                  <a:pt x="708" y="3543"/>
                </a:cubicBezTo>
                <a:cubicBezTo>
                  <a:pt x="0" y="5232"/>
                  <a:pt x="0" y="7103"/>
                  <a:pt x="274" y="8906"/>
                </a:cubicBezTo>
                <a:cubicBezTo>
                  <a:pt x="959" y="13152"/>
                  <a:pt x="3173" y="16964"/>
                  <a:pt x="4839" y="20913"/>
                </a:cubicBezTo>
                <a:cubicBezTo>
                  <a:pt x="6483" y="24884"/>
                  <a:pt x="7579" y="29472"/>
                  <a:pt x="5912" y="33421"/>
                </a:cubicBezTo>
                <a:cubicBezTo>
                  <a:pt x="5136" y="35224"/>
                  <a:pt x="3858" y="36776"/>
                  <a:pt x="3196" y="38602"/>
                </a:cubicBezTo>
                <a:cubicBezTo>
                  <a:pt x="2078" y="41752"/>
                  <a:pt x="2945" y="45267"/>
                  <a:pt x="3972" y="48440"/>
                </a:cubicBezTo>
                <a:cubicBezTo>
                  <a:pt x="4520" y="50083"/>
                  <a:pt x="5091" y="51727"/>
                  <a:pt x="5227" y="53461"/>
                </a:cubicBezTo>
                <a:cubicBezTo>
                  <a:pt x="5433" y="56566"/>
                  <a:pt x="4109" y="59556"/>
                  <a:pt x="2831" y="62386"/>
                </a:cubicBezTo>
                <a:cubicBezTo>
                  <a:pt x="7738" y="57889"/>
                  <a:pt x="9975" y="51110"/>
                  <a:pt x="9359" y="44560"/>
                </a:cubicBezTo>
                <a:cubicBezTo>
                  <a:pt x="9199" y="42802"/>
                  <a:pt x="8834" y="40999"/>
                  <a:pt x="9222" y="39264"/>
                </a:cubicBezTo>
                <a:cubicBezTo>
                  <a:pt x="9633" y="37392"/>
                  <a:pt x="10843" y="35817"/>
                  <a:pt x="11824" y="34174"/>
                </a:cubicBezTo>
                <a:cubicBezTo>
                  <a:pt x="16640" y="26117"/>
                  <a:pt x="15887" y="15777"/>
                  <a:pt x="12577" y="7012"/>
                </a:cubicBezTo>
                <a:cubicBezTo>
                  <a:pt x="11915" y="5209"/>
                  <a:pt x="11116" y="3406"/>
                  <a:pt x="9793" y="2036"/>
                </a:cubicBezTo>
                <a:cubicBezTo>
                  <a:pt x="8658" y="842"/>
                  <a:pt x="7053" y="1"/>
                  <a:pt x="5438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921" name="Google Shape;11921;p1600"/>
          <p:cNvGrpSpPr/>
          <p:nvPr/>
        </p:nvGrpSpPr>
        <p:grpSpPr>
          <a:xfrm flipH="1">
            <a:off x="11305841" y="2311747"/>
            <a:ext cx="1166040" cy="1974763"/>
            <a:chOff x="-117729" y="1733810"/>
            <a:chExt cx="874530" cy="1481072"/>
          </a:xfrm>
        </p:grpSpPr>
        <p:sp>
          <p:nvSpPr>
            <p:cNvPr id="11922" name="Google Shape;11922;p1600"/>
            <p:cNvSpPr/>
            <p:nvPr/>
          </p:nvSpPr>
          <p:spPr>
            <a:xfrm>
              <a:off x="21973" y="1733810"/>
              <a:ext cx="518652" cy="505591"/>
            </a:xfrm>
            <a:custGeom>
              <a:avLst/>
              <a:gdLst/>
              <a:ahLst/>
              <a:cxnLst/>
              <a:rect l="l" t="t" r="r" b="b"/>
              <a:pathLst>
                <a:path w="19220" h="18736" extrusionOk="0">
                  <a:moveTo>
                    <a:pt x="9145" y="0"/>
                  </a:moveTo>
                  <a:cubicBezTo>
                    <a:pt x="9095" y="0"/>
                    <a:pt x="9044" y="1"/>
                    <a:pt x="8994" y="2"/>
                  </a:cubicBezTo>
                  <a:cubicBezTo>
                    <a:pt x="7190" y="48"/>
                    <a:pt x="5410" y="824"/>
                    <a:pt x="4132" y="2079"/>
                  </a:cubicBezTo>
                  <a:cubicBezTo>
                    <a:pt x="3675" y="2536"/>
                    <a:pt x="3264" y="3084"/>
                    <a:pt x="3127" y="3723"/>
                  </a:cubicBezTo>
                  <a:cubicBezTo>
                    <a:pt x="2945" y="4476"/>
                    <a:pt x="3173" y="5275"/>
                    <a:pt x="3493" y="6005"/>
                  </a:cubicBezTo>
                  <a:cubicBezTo>
                    <a:pt x="4155" y="7466"/>
                    <a:pt x="5182" y="8744"/>
                    <a:pt x="5866" y="10182"/>
                  </a:cubicBezTo>
                  <a:cubicBezTo>
                    <a:pt x="4908" y="9406"/>
                    <a:pt x="3926" y="8630"/>
                    <a:pt x="2945" y="7854"/>
                  </a:cubicBezTo>
                  <a:cubicBezTo>
                    <a:pt x="2717" y="7671"/>
                    <a:pt x="2466" y="7489"/>
                    <a:pt x="2192" y="7420"/>
                  </a:cubicBezTo>
                  <a:cubicBezTo>
                    <a:pt x="2152" y="7416"/>
                    <a:pt x="2112" y="7413"/>
                    <a:pt x="2072" y="7413"/>
                  </a:cubicBezTo>
                  <a:cubicBezTo>
                    <a:pt x="1725" y="7413"/>
                    <a:pt x="1390" y="7586"/>
                    <a:pt x="1164" y="7831"/>
                  </a:cubicBezTo>
                  <a:cubicBezTo>
                    <a:pt x="913" y="8105"/>
                    <a:pt x="776" y="8470"/>
                    <a:pt x="662" y="8835"/>
                  </a:cubicBezTo>
                  <a:cubicBezTo>
                    <a:pt x="0" y="11323"/>
                    <a:pt x="1210" y="14062"/>
                    <a:pt x="3150" y="15752"/>
                  </a:cubicBezTo>
                  <a:cubicBezTo>
                    <a:pt x="5090" y="17441"/>
                    <a:pt x="7647" y="18239"/>
                    <a:pt x="10180" y="18673"/>
                  </a:cubicBezTo>
                  <a:cubicBezTo>
                    <a:pt x="10426" y="18715"/>
                    <a:pt x="10675" y="18735"/>
                    <a:pt x="10925" y="18735"/>
                  </a:cubicBezTo>
                  <a:cubicBezTo>
                    <a:pt x="12446" y="18735"/>
                    <a:pt x="14020" y="17997"/>
                    <a:pt x="15156" y="16938"/>
                  </a:cubicBezTo>
                  <a:cubicBezTo>
                    <a:pt x="16320" y="15866"/>
                    <a:pt x="16868" y="14291"/>
                    <a:pt x="17507" y="12853"/>
                  </a:cubicBezTo>
                  <a:cubicBezTo>
                    <a:pt x="18101" y="11483"/>
                    <a:pt x="18831" y="10159"/>
                    <a:pt x="19014" y="8676"/>
                  </a:cubicBezTo>
                  <a:cubicBezTo>
                    <a:pt x="19219" y="6987"/>
                    <a:pt x="18671" y="5275"/>
                    <a:pt x="18078" y="3677"/>
                  </a:cubicBezTo>
                  <a:cubicBezTo>
                    <a:pt x="17850" y="3015"/>
                    <a:pt x="17599" y="2376"/>
                    <a:pt x="17142" y="1874"/>
                  </a:cubicBezTo>
                  <a:cubicBezTo>
                    <a:pt x="16771" y="1485"/>
                    <a:pt x="16249" y="1205"/>
                    <a:pt x="15735" y="1205"/>
                  </a:cubicBezTo>
                  <a:cubicBezTo>
                    <a:pt x="15586" y="1205"/>
                    <a:pt x="15437" y="1229"/>
                    <a:pt x="15293" y="1280"/>
                  </a:cubicBezTo>
                  <a:cubicBezTo>
                    <a:pt x="14700" y="1509"/>
                    <a:pt x="14335" y="2102"/>
                    <a:pt x="14084" y="2695"/>
                  </a:cubicBezTo>
                  <a:cubicBezTo>
                    <a:pt x="13513" y="3997"/>
                    <a:pt x="13285" y="5412"/>
                    <a:pt x="13079" y="6804"/>
                  </a:cubicBezTo>
                  <a:cubicBezTo>
                    <a:pt x="13148" y="5571"/>
                    <a:pt x="13034" y="4339"/>
                    <a:pt x="12760" y="3129"/>
                  </a:cubicBezTo>
                  <a:cubicBezTo>
                    <a:pt x="12577" y="2262"/>
                    <a:pt x="12280" y="1372"/>
                    <a:pt x="11618" y="778"/>
                  </a:cubicBezTo>
                  <a:cubicBezTo>
                    <a:pt x="10949" y="195"/>
                    <a:pt x="10034" y="0"/>
                    <a:pt x="914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67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23" name="Google Shape;11923;p1600"/>
            <p:cNvSpPr/>
            <p:nvPr/>
          </p:nvSpPr>
          <p:spPr>
            <a:xfrm>
              <a:off x="182722" y="1995375"/>
              <a:ext cx="268582" cy="236173"/>
            </a:xfrm>
            <a:custGeom>
              <a:avLst/>
              <a:gdLst/>
              <a:ahLst/>
              <a:cxnLst/>
              <a:rect l="l" t="t" r="r" b="b"/>
              <a:pathLst>
                <a:path w="9953" h="8752" extrusionOk="0">
                  <a:moveTo>
                    <a:pt x="6563" y="1"/>
                  </a:moveTo>
                  <a:cubicBezTo>
                    <a:pt x="6452" y="1"/>
                    <a:pt x="6342" y="4"/>
                    <a:pt x="6232" y="10"/>
                  </a:cubicBezTo>
                  <a:cubicBezTo>
                    <a:pt x="4406" y="78"/>
                    <a:pt x="2626" y="740"/>
                    <a:pt x="1211" y="1882"/>
                  </a:cubicBezTo>
                  <a:cubicBezTo>
                    <a:pt x="754" y="2270"/>
                    <a:pt x="298" y="2726"/>
                    <a:pt x="138" y="3297"/>
                  </a:cubicBezTo>
                  <a:cubicBezTo>
                    <a:pt x="1" y="3776"/>
                    <a:pt x="92" y="4278"/>
                    <a:pt x="229" y="4758"/>
                  </a:cubicBezTo>
                  <a:cubicBezTo>
                    <a:pt x="822" y="6835"/>
                    <a:pt x="2671" y="8569"/>
                    <a:pt x="4817" y="8752"/>
                  </a:cubicBezTo>
                  <a:cubicBezTo>
                    <a:pt x="5661" y="8250"/>
                    <a:pt x="6780" y="8318"/>
                    <a:pt x="7670" y="7930"/>
                  </a:cubicBezTo>
                  <a:cubicBezTo>
                    <a:pt x="8515" y="7588"/>
                    <a:pt x="9131" y="6880"/>
                    <a:pt x="9496" y="6059"/>
                  </a:cubicBezTo>
                  <a:cubicBezTo>
                    <a:pt x="9838" y="5237"/>
                    <a:pt x="9953" y="4324"/>
                    <a:pt x="9884" y="3434"/>
                  </a:cubicBezTo>
                  <a:cubicBezTo>
                    <a:pt x="9816" y="2361"/>
                    <a:pt x="9519" y="1242"/>
                    <a:pt x="8674" y="603"/>
                  </a:cubicBezTo>
                  <a:cubicBezTo>
                    <a:pt x="8078" y="146"/>
                    <a:pt x="7310" y="1"/>
                    <a:pt x="656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67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24" name="Google Shape;11924;p1600"/>
            <p:cNvSpPr/>
            <p:nvPr/>
          </p:nvSpPr>
          <p:spPr>
            <a:xfrm>
              <a:off x="-117729" y="2086450"/>
              <a:ext cx="874530" cy="1128432"/>
            </a:xfrm>
            <a:custGeom>
              <a:avLst/>
              <a:gdLst/>
              <a:ahLst/>
              <a:cxnLst/>
              <a:rect l="l" t="t" r="r" b="b"/>
              <a:pathLst>
                <a:path w="32408" h="41817" extrusionOk="0">
                  <a:moveTo>
                    <a:pt x="30309" y="1"/>
                  </a:moveTo>
                  <a:cubicBezTo>
                    <a:pt x="29836" y="1"/>
                    <a:pt x="29342" y="124"/>
                    <a:pt x="28916" y="310"/>
                  </a:cubicBezTo>
                  <a:cubicBezTo>
                    <a:pt x="27090" y="1109"/>
                    <a:pt x="25720" y="2661"/>
                    <a:pt x="24556" y="4281"/>
                  </a:cubicBezTo>
                  <a:cubicBezTo>
                    <a:pt x="22662" y="6906"/>
                    <a:pt x="21132" y="9828"/>
                    <a:pt x="20037" y="12909"/>
                  </a:cubicBezTo>
                  <a:cubicBezTo>
                    <a:pt x="20196" y="11700"/>
                    <a:pt x="20219" y="10513"/>
                    <a:pt x="20082" y="9326"/>
                  </a:cubicBezTo>
                  <a:cubicBezTo>
                    <a:pt x="19991" y="8413"/>
                    <a:pt x="19786" y="7500"/>
                    <a:pt x="19786" y="6587"/>
                  </a:cubicBezTo>
                  <a:cubicBezTo>
                    <a:pt x="19808" y="5674"/>
                    <a:pt x="20082" y="4715"/>
                    <a:pt x="20744" y="4099"/>
                  </a:cubicBezTo>
                  <a:cubicBezTo>
                    <a:pt x="21109" y="3779"/>
                    <a:pt x="21543" y="3574"/>
                    <a:pt x="21931" y="3277"/>
                  </a:cubicBezTo>
                  <a:cubicBezTo>
                    <a:pt x="22296" y="2980"/>
                    <a:pt x="22616" y="2524"/>
                    <a:pt x="22547" y="2044"/>
                  </a:cubicBezTo>
                  <a:cubicBezTo>
                    <a:pt x="22468" y="1992"/>
                    <a:pt x="22387" y="1969"/>
                    <a:pt x="22306" y="1969"/>
                  </a:cubicBezTo>
                  <a:cubicBezTo>
                    <a:pt x="21776" y="1969"/>
                    <a:pt x="21200" y="2926"/>
                    <a:pt x="20693" y="2926"/>
                  </a:cubicBezTo>
                  <a:cubicBezTo>
                    <a:pt x="20601" y="2926"/>
                    <a:pt x="20511" y="2895"/>
                    <a:pt x="20425" y="2820"/>
                  </a:cubicBezTo>
                  <a:cubicBezTo>
                    <a:pt x="20356" y="2752"/>
                    <a:pt x="20288" y="2661"/>
                    <a:pt x="20219" y="2569"/>
                  </a:cubicBezTo>
                  <a:cubicBezTo>
                    <a:pt x="20134" y="2490"/>
                    <a:pt x="20035" y="2455"/>
                    <a:pt x="19933" y="2455"/>
                  </a:cubicBezTo>
                  <a:cubicBezTo>
                    <a:pt x="19624" y="2455"/>
                    <a:pt x="19278" y="2763"/>
                    <a:pt x="19124" y="3072"/>
                  </a:cubicBezTo>
                  <a:cubicBezTo>
                    <a:pt x="18918" y="3482"/>
                    <a:pt x="18758" y="4030"/>
                    <a:pt x="18325" y="4190"/>
                  </a:cubicBezTo>
                  <a:cubicBezTo>
                    <a:pt x="18233" y="4223"/>
                    <a:pt x="18137" y="4236"/>
                    <a:pt x="18038" y="4236"/>
                  </a:cubicBezTo>
                  <a:cubicBezTo>
                    <a:pt x="17577" y="4236"/>
                    <a:pt x="17054" y="3945"/>
                    <a:pt x="16652" y="3945"/>
                  </a:cubicBezTo>
                  <a:cubicBezTo>
                    <a:pt x="16473" y="3945"/>
                    <a:pt x="16318" y="4002"/>
                    <a:pt x="16202" y="4167"/>
                  </a:cubicBezTo>
                  <a:cubicBezTo>
                    <a:pt x="16065" y="4350"/>
                    <a:pt x="16065" y="4578"/>
                    <a:pt x="15997" y="4783"/>
                  </a:cubicBezTo>
                  <a:cubicBezTo>
                    <a:pt x="15791" y="5423"/>
                    <a:pt x="15015" y="5605"/>
                    <a:pt x="14353" y="5719"/>
                  </a:cubicBezTo>
                  <a:cubicBezTo>
                    <a:pt x="14473" y="6130"/>
                    <a:pt x="14901" y="6336"/>
                    <a:pt x="15339" y="6336"/>
                  </a:cubicBezTo>
                  <a:cubicBezTo>
                    <a:pt x="15484" y="6336"/>
                    <a:pt x="15631" y="6313"/>
                    <a:pt x="15768" y="6267"/>
                  </a:cubicBezTo>
                  <a:cubicBezTo>
                    <a:pt x="16293" y="6107"/>
                    <a:pt x="16727" y="5696"/>
                    <a:pt x="17229" y="5423"/>
                  </a:cubicBezTo>
                  <a:cubicBezTo>
                    <a:pt x="17506" y="5271"/>
                    <a:pt x="17832" y="5169"/>
                    <a:pt x="18138" y="5169"/>
                  </a:cubicBezTo>
                  <a:cubicBezTo>
                    <a:pt x="18386" y="5169"/>
                    <a:pt x="18620" y="5236"/>
                    <a:pt x="18804" y="5400"/>
                  </a:cubicBezTo>
                  <a:cubicBezTo>
                    <a:pt x="19101" y="5674"/>
                    <a:pt x="19192" y="6062"/>
                    <a:pt x="19238" y="6450"/>
                  </a:cubicBezTo>
                  <a:cubicBezTo>
                    <a:pt x="19991" y="11311"/>
                    <a:pt x="19146" y="16356"/>
                    <a:pt x="17298" y="20898"/>
                  </a:cubicBezTo>
                  <a:cubicBezTo>
                    <a:pt x="16750" y="22290"/>
                    <a:pt x="16088" y="23614"/>
                    <a:pt x="15380" y="24915"/>
                  </a:cubicBezTo>
                  <a:cubicBezTo>
                    <a:pt x="16430" y="21925"/>
                    <a:pt x="16955" y="18753"/>
                    <a:pt x="16932" y="15603"/>
                  </a:cubicBezTo>
                  <a:cubicBezTo>
                    <a:pt x="16932" y="13480"/>
                    <a:pt x="16613" y="11220"/>
                    <a:pt x="15152" y="9668"/>
                  </a:cubicBezTo>
                  <a:cubicBezTo>
                    <a:pt x="14855" y="9349"/>
                    <a:pt x="14490" y="9052"/>
                    <a:pt x="14056" y="8960"/>
                  </a:cubicBezTo>
                  <a:cubicBezTo>
                    <a:pt x="13940" y="8931"/>
                    <a:pt x="13823" y="8918"/>
                    <a:pt x="13707" y="8918"/>
                  </a:cubicBezTo>
                  <a:cubicBezTo>
                    <a:pt x="12825" y="8918"/>
                    <a:pt x="12001" y="9716"/>
                    <a:pt x="11820" y="10604"/>
                  </a:cubicBezTo>
                  <a:cubicBezTo>
                    <a:pt x="11614" y="11608"/>
                    <a:pt x="12025" y="12658"/>
                    <a:pt x="12596" y="13526"/>
                  </a:cubicBezTo>
                  <a:cubicBezTo>
                    <a:pt x="13166" y="14393"/>
                    <a:pt x="13897" y="15146"/>
                    <a:pt x="14422" y="16013"/>
                  </a:cubicBezTo>
                  <a:cubicBezTo>
                    <a:pt x="15449" y="17725"/>
                    <a:pt x="15677" y="19802"/>
                    <a:pt x="15449" y="21765"/>
                  </a:cubicBezTo>
                  <a:cubicBezTo>
                    <a:pt x="15221" y="23637"/>
                    <a:pt x="14627" y="25417"/>
                    <a:pt x="14034" y="27198"/>
                  </a:cubicBezTo>
                  <a:cubicBezTo>
                    <a:pt x="12664" y="29343"/>
                    <a:pt x="11089" y="31398"/>
                    <a:pt x="9446" y="33338"/>
                  </a:cubicBezTo>
                  <a:cubicBezTo>
                    <a:pt x="8829" y="34068"/>
                    <a:pt x="8190" y="34776"/>
                    <a:pt x="7551" y="35461"/>
                  </a:cubicBezTo>
                  <a:cubicBezTo>
                    <a:pt x="8213" y="34091"/>
                    <a:pt x="8601" y="32607"/>
                    <a:pt x="8966" y="31147"/>
                  </a:cubicBezTo>
                  <a:cubicBezTo>
                    <a:pt x="9811" y="27746"/>
                    <a:pt x="10678" y="24322"/>
                    <a:pt x="10838" y="20807"/>
                  </a:cubicBezTo>
                  <a:cubicBezTo>
                    <a:pt x="10907" y="19437"/>
                    <a:pt x="10838" y="17954"/>
                    <a:pt x="9994" y="16881"/>
                  </a:cubicBezTo>
                  <a:cubicBezTo>
                    <a:pt x="9879" y="16744"/>
                    <a:pt x="9742" y="16607"/>
                    <a:pt x="9583" y="16561"/>
                  </a:cubicBezTo>
                  <a:cubicBezTo>
                    <a:pt x="9538" y="16550"/>
                    <a:pt x="9494" y="16545"/>
                    <a:pt x="9450" y="16545"/>
                  </a:cubicBezTo>
                  <a:cubicBezTo>
                    <a:pt x="9228" y="16545"/>
                    <a:pt x="9024" y="16679"/>
                    <a:pt x="8852" y="16812"/>
                  </a:cubicBezTo>
                  <a:cubicBezTo>
                    <a:pt x="8031" y="17520"/>
                    <a:pt x="7483" y="18501"/>
                    <a:pt x="7118" y="19506"/>
                  </a:cubicBezTo>
                  <a:cubicBezTo>
                    <a:pt x="6113" y="22176"/>
                    <a:pt x="6159" y="25098"/>
                    <a:pt x="6433" y="27928"/>
                  </a:cubicBezTo>
                  <a:cubicBezTo>
                    <a:pt x="6684" y="30667"/>
                    <a:pt x="7095" y="33384"/>
                    <a:pt x="6912" y="36100"/>
                  </a:cubicBezTo>
                  <a:cubicBezTo>
                    <a:pt x="4972" y="38086"/>
                    <a:pt x="2804" y="39866"/>
                    <a:pt x="338" y="41144"/>
                  </a:cubicBezTo>
                  <a:cubicBezTo>
                    <a:pt x="315" y="41138"/>
                    <a:pt x="293" y="41135"/>
                    <a:pt x="273" y="41135"/>
                  </a:cubicBezTo>
                  <a:cubicBezTo>
                    <a:pt x="1" y="41135"/>
                    <a:pt x="41" y="41677"/>
                    <a:pt x="338" y="41783"/>
                  </a:cubicBezTo>
                  <a:cubicBezTo>
                    <a:pt x="402" y="41806"/>
                    <a:pt x="467" y="41816"/>
                    <a:pt x="532" y="41816"/>
                  </a:cubicBezTo>
                  <a:cubicBezTo>
                    <a:pt x="792" y="41816"/>
                    <a:pt x="1055" y="41655"/>
                    <a:pt x="1274" y="41509"/>
                  </a:cubicBezTo>
                  <a:cubicBezTo>
                    <a:pt x="3488" y="40026"/>
                    <a:pt x="5543" y="38337"/>
                    <a:pt x="7460" y="36465"/>
                  </a:cubicBezTo>
                  <a:cubicBezTo>
                    <a:pt x="7648" y="36470"/>
                    <a:pt x="7836" y="36472"/>
                    <a:pt x="8024" y="36472"/>
                  </a:cubicBezTo>
                  <a:cubicBezTo>
                    <a:pt x="12339" y="36472"/>
                    <a:pt x="16707" y="35223"/>
                    <a:pt x="20425" y="32927"/>
                  </a:cubicBezTo>
                  <a:cubicBezTo>
                    <a:pt x="21771" y="32082"/>
                    <a:pt x="23141" y="31010"/>
                    <a:pt x="23552" y="29480"/>
                  </a:cubicBezTo>
                  <a:cubicBezTo>
                    <a:pt x="23643" y="29184"/>
                    <a:pt x="23689" y="28841"/>
                    <a:pt x="23575" y="28545"/>
                  </a:cubicBezTo>
                  <a:cubicBezTo>
                    <a:pt x="23415" y="28111"/>
                    <a:pt x="22913" y="27837"/>
                    <a:pt x="22456" y="27814"/>
                  </a:cubicBezTo>
                  <a:cubicBezTo>
                    <a:pt x="22429" y="27813"/>
                    <a:pt x="22402" y="27812"/>
                    <a:pt x="22374" y="27812"/>
                  </a:cubicBezTo>
                  <a:cubicBezTo>
                    <a:pt x="21925" y="27812"/>
                    <a:pt x="21496" y="27986"/>
                    <a:pt x="21087" y="28179"/>
                  </a:cubicBezTo>
                  <a:cubicBezTo>
                    <a:pt x="19420" y="28955"/>
                    <a:pt x="18028" y="30211"/>
                    <a:pt x="16522" y="31261"/>
                  </a:cubicBezTo>
                  <a:cubicBezTo>
                    <a:pt x="14102" y="32950"/>
                    <a:pt x="11386" y="34160"/>
                    <a:pt x="8647" y="35278"/>
                  </a:cubicBezTo>
                  <a:cubicBezTo>
                    <a:pt x="10770" y="33041"/>
                    <a:pt x="12687" y="30599"/>
                    <a:pt x="14330" y="27997"/>
                  </a:cubicBezTo>
                  <a:cubicBezTo>
                    <a:pt x="14516" y="28096"/>
                    <a:pt x="14742" y="28134"/>
                    <a:pt x="14979" y="28134"/>
                  </a:cubicBezTo>
                  <a:cubicBezTo>
                    <a:pt x="15179" y="28134"/>
                    <a:pt x="15387" y="28107"/>
                    <a:pt x="15586" y="28065"/>
                  </a:cubicBezTo>
                  <a:cubicBezTo>
                    <a:pt x="18553" y="27563"/>
                    <a:pt x="21178" y="25874"/>
                    <a:pt x="23392" y="23843"/>
                  </a:cubicBezTo>
                  <a:cubicBezTo>
                    <a:pt x="25218" y="22176"/>
                    <a:pt x="26861" y="20168"/>
                    <a:pt x="27455" y="17771"/>
                  </a:cubicBezTo>
                  <a:cubicBezTo>
                    <a:pt x="27592" y="17109"/>
                    <a:pt x="27660" y="16333"/>
                    <a:pt x="27227" y="15808"/>
                  </a:cubicBezTo>
                  <a:cubicBezTo>
                    <a:pt x="26936" y="15457"/>
                    <a:pt x="26498" y="15299"/>
                    <a:pt x="26042" y="15299"/>
                  </a:cubicBezTo>
                  <a:cubicBezTo>
                    <a:pt x="25638" y="15299"/>
                    <a:pt x="25219" y="15423"/>
                    <a:pt x="24876" y="15648"/>
                  </a:cubicBezTo>
                  <a:cubicBezTo>
                    <a:pt x="24168" y="16128"/>
                    <a:pt x="23734" y="16927"/>
                    <a:pt x="23323" y="17680"/>
                  </a:cubicBezTo>
                  <a:cubicBezTo>
                    <a:pt x="22022" y="20099"/>
                    <a:pt x="20607" y="22519"/>
                    <a:pt x="18599" y="24390"/>
                  </a:cubicBezTo>
                  <a:cubicBezTo>
                    <a:pt x="17480" y="25417"/>
                    <a:pt x="16202" y="26285"/>
                    <a:pt x="14878" y="27084"/>
                  </a:cubicBezTo>
                  <a:cubicBezTo>
                    <a:pt x="16864" y="23706"/>
                    <a:pt x="18393" y="20099"/>
                    <a:pt x="19375" y="16310"/>
                  </a:cubicBezTo>
                  <a:cubicBezTo>
                    <a:pt x="19420" y="16105"/>
                    <a:pt x="19489" y="15922"/>
                    <a:pt x="19534" y="15717"/>
                  </a:cubicBezTo>
                  <a:cubicBezTo>
                    <a:pt x="21292" y="13731"/>
                    <a:pt x="23232" y="11791"/>
                    <a:pt x="25286" y="10033"/>
                  </a:cubicBezTo>
                  <a:cubicBezTo>
                    <a:pt x="27592" y="8070"/>
                    <a:pt x="30125" y="6199"/>
                    <a:pt x="31563" y="3551"/>
                  </a:cubicBezTo>
                  <a:cubicBezTo>
                    <a:pt x="32088" y="2592"/>
                    <a:pt x="32408" y="1291"/>
                    <a:pt x="31655" y="515"/>
                  </a:cubicBezTo>
                  <a:cubicBezTo>
                    <a:pt x="31310" y="146"/>
                    <a:pt x="30822" y="1"/>
                    <a:pt x="303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67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925" name="Google Shape;11925;p1600"/>
          <p:cNvSpPr/>
          <p:nvPr/>
        </p:nvSpPr>
        <p:spPr>
          <a:xfrm>
            <a:off x="9732899" y="713335"/>
            <a:ext cx="232853" cy="151221"/>
          </a:xfrm>
          <a:custGeom>
            <a:avLst/>
            <a:gdLst/>
            <a:ahLst/>
            <a:cxnLst/>
            <a:rect l="l" t="t" r="r" b="b"/>
            <a:pathLst>
              <a:path w="8720" h="5663" extrusionOk="0">
                <a:moveTo>
                  <a:pt x="5592" y="207"/>
                </a:moveTo>
                <a:cubicBezTo>
                  <a:pt x="5958" y="207"/>
                  <a:pt x="6323" y="230"/>
                  <a:pt x="6688" y="298"/>
                </a:cubicBezTo>
                <a:cubicBezTo>
                  <a:pt x="7053" y="344"/>
                  <a:pt x="7487" y="435"/>
                  <a:pt x="7829" y="686"/>
                </a:cubicBezTo>
                <a:cubicBezTo>
                  <a:pt x="8035" y="823"/>
                  <a:pt x="8217" y="1097"/>
                  <a:pt x="8263" y="1371"/>
                </a:cubicBezTo>
                <a:cubicBezTo>
                  <a:pt x="5707" y="1417"/>
                  <a:pt x="3150" y="1599"/>
                  <a:pt x="617" y="1965"/>
                </a:cubicBezTo>
                <a:cubicBezTo>
                  <a:pt x="845" y="1736"/>
                  <a:pt x="1096" y="1554"/>
                  <a:pt x="1256" y="1440"/>
                </a:cubicBezTo>
                <a:cubicBezTo>
                  <a:pt x="2534" y="641"/>
                  <a:pt x="4086" y="207"/>
                  <a:pt x="5592" y="207"/>
                </a:cubicBezTo>
                <a:close/>
                <a:moveTo>
                  <a:pt x="8263" y="1577"/>
                </a:moveTo>
                <a:cubicBezTo>
                  <a:pt x="8263" y="1622"/>
                  <a:pt x="8263" y="1645"/>
                  <a:pt x="8240" y="1668"/>
                </a:cubicBezTo>
                <a:cubicBezTo>
                  <a:pt x="8172" y="1942"/>
                  <a:pt x="7943" y="2170"/>
                  <a:pt x="7738" y="2353"/>
                </a:cubicBezTo>
                <a:cubicBezTo>
                  <a:pt x="7213" y="2764"/>
                  <a:pt x="6711" y="3129"/>
                  <a:pt x="6414" y="3243"/>
                </a:cubicBezTo>
                <a:cubicBezTo>
                  <a:pt x="5119" y="3770"/>
                  <a:pt x="3698" y="4043"/>
                  <a:pt x="2292" y="4043"/>
                </a:cubicBezTo>
                <a:cubicBezTo>
                  <a:pt x="2236" y="4043"/>
                  <a:pt x="2179" y="4043"/>
                  <a:pt x="2123" y="4042"/>
                </a:cubicBezTo>
                <a:cubicBezTo>
                  <a:pt x="1735" y="4019"/>
                  <a:pt x="1324" y="3996"/>
                  <a:pt x="959" y="3836"/>
                </a:cubicBezTo>
                <a:cubicBezTo>
                  <a:pt x="571" y="3654"/>
                  <a:pt x="297" y="3334"/>
                  <a:pt x="229" y="2992"/>
                </a:cubicBezTo>
                <a:cubicBezTo>
                  <a:pt x="183" y="2695"/>
                  <a:pt x="274" y="2444"/>
                  <a:pt x="434" y="2193"/>
                </a:cubicBezTo>
                <a:cubicBezTo>
                  <a:pt x="3013" y="1828"/>
                  <a:pt x="5661" y="1622"/>
                  <a:pt x="8263" y="1577"/>
                </a:cubicBezTo>
                <a:close/>
                <a:moveTo>
                  <a:pt x="8377" y="1942"/>
                </a:moveTo>
                <a:cubicBezTo>
                  <a:pt x="8423" y="2353"/>
                  <a:pt x="8468" y="2764"/>
                  <a:pt x="8491" y="3174"/>
                </a:cubicBezTo>
                <a:cubicBezTo>
                  <a:pt x="8514" y="3311"/>
                  <a:pt x="8514" y="3425"/>
                  <a:pt x="8468" y="3540"/>
                </a:cubicBezTo>
                <a:cubicBezTo>
                  <a:pt x="8446" y="3631"/>
                  <a:pt x="8354" y="3722"/>
                  <a:pt x="8240" y="3813"/>
                </a:cubicBezTo>
                <a:cubicBezTo>
                  <a:pt x="8035" y="3996"/>
                  <a:pt x="7784" y="4179"/>
                  <a:pt x="7441" y="4361"/>
                </a:cubicBezTo>
                <a:cubicBezTo>
                  <a:pt x="6193" y="5075"/>
                  <a:pt x="4756" y="5461"/>
                  <a:pt x="3323" y="5461"/>
                </a:cubicBezTo>
                <a:cubicBezTo>
                  <a:pt x="3105" y="5461"/>
                  <a:pt x="2888" y="5452"/>
                  <a:pt x="2671" y="5434"/>
                </a:cubicBezTo>
                <a:cubicBezTo>
                  <a:pt x="2169" y="5388"/>
                  <a:pt x="1758" y="5320"/>
                  <a:pt x="1393" y="5206"/>
                </a:cubicBezTo>
                <a:cubicBezTo>
                  <a:pt x="936" y="5046"/>
                  <a:pt x="639" y="4863"/>
                  <a:pt x="480" y="4612"/>
                </a:cubicBezTo>
                <a:cubicBezTo>
                  <a:pt x="274" y="4293"/>
                  <a:pt x="251" y="3928"/>
                  <a:pt x="251" y="3540"/>
                </a:cubicBezTo>
                <a:lnTo>
                  <a:pt x="251" y="3540"/>
                </a:lnTo>
                <a:cubicBezTo>
                  <a:pt x="388" y="3745"/>
                  <a:pt x="594" y="3905"/>
                  <a:pt x="868" y="4019"/>
                </a:cubicBezTo>
                <a:cubicBezTo>
                  <a:pt x="1256" y="4202"/>
                  <a:pt x="1735" y="4247"/>
                  <a:pt x="2123" y="4247"/>
                </a:cubicBezTo>
                <a:lnTo>
                  <a:pt x="2374" y="4247"/>
                </a:lnTo>
                <a:cubicBezTo>
                  <a:pt x="3789" y="4247"/>
                  <a:pt x="5204" y="3973"/>
                  <a:pt x="6505" y="3425"/>
                </a:cubicBezTo>
                <a:cubicBezTo>
                  <a:pt x="6871" y="3289"/>
                  <a:pt x="7441" y="2855"/>
                  <a:pt x="7852" y="2512"/>
                </a:cubicBezTo>
                <a:cubicBezTo>
                  <a:pt x="8058" y="2353"/>
                  <a:pt x="8240" y="2170"/>
                  <a:pt x="8377" y="1942"/>
                </a:cubicBezTo>
                <a:close/>
                <a:moveTo>
                  <a:pt x="5642" y="0"/>
                </a:moveTo>
                <a:cubicBezTo>
                  <a:pt x="4073" y="0"/>
                  <a:pt x="2479" y="440"/>
                  <a:pt x="1142" y="1257"/>
                </a:cubicBezTo>
                <a:cubicBezTo>
                  <a:pt x="708" y="1531"/>
                  <a:pt x="23" y="2079"/>
                  <a:pt x="0" y="2786"/>
                </a:cubicBezTo>
                <a:cubicBezTo>
                  <a:pt x="0" y="2809"/>
                  <a:pt x="0" y="2832"/>
                  <a:pt x="0" y="2832"/>
                </a:cubicBezTo>
                <a:cubicBezTo>
                  <a:pt x="23" y="3037"/>
                  <a:pt x="23" y="3243"/>
                  <a:pt x="23" y="3448"/>
                </a:cubicBezTo>
                <a:cubicBezTo>
                  <a:pt x="46" y="3882"/>
                  <a:pt x="46" y="4338"/>
                  <a:pt x="297" y="4726"/>
                </a:cubicBezTo>
                <a:cubicBezTo>
                  <a:pt x="502" y="5023"/>
                  <a:pt x="822" y="5229"/>
                  <a:pt x="1324" y="5388"/>
                </a:cubicBezTo>
                <a:cubicBezTo>
                  <a:pt x="1712" y="5525"/>
                  <a:pt x="2146" y="5594"/>
                  <a:pt x="2648" y="5640"/>
                </a:cubicBezTo>
                <a:cubicBezTo>
                  <a:pt x="2876" y="5662"/>
                  <a:pt x="3082" y="5662"/>
                  <a:pt x="3310" y="5662"/>
                </a:cubicBezTo>
                <a:cubicBezTo>
                  <a:pt x="4794" y="5662"/>
                  <a:pt x="6277" y="5274"/>
                  <a:pt x="7555" y="4544"/>
                </a:cubicBezTo>
                <a:cubicBezTo>
                  <a:pt x="7898" y="4361"/>
                  <a:pt x="8149" y="4179"/>
                  <a:pt x="8377" y="3973"/>
                </a:cubicBezTo>
                <a:cubicBezTo>
                  <a:pt x="8514" y="3882"/>
                  <a:pt x="8628" y="3768"/>
                  <a:pt x="8674" y="3608"/>
                </a:cubicBezTo>
                <a:cubicBezTo>
                  <a:pt x="8720" y="3448"/>
                  <a:pt x="8720" y="3289"/>
                  <a:pt x="8720" y="3174"/>
                </a:cubicBezTo>
                <a:cubicBezTo>
                  <a:pt x="8651" y="2490"/>
                  <a:pt x="8583" y="1828"/>
                  <a:pt x="8468" y="1143"/>
                </a:cubicBezTo>
                <a:cubicBezTo>
                  <a:pt x="8468" y="1120"/>
                  <a:pt x="8423" y="1074"/>
                  <a:pt x="8400" y="1074"/>
                </a:cubicBezTo>
                <a:cubicBezTo>
                  <a:pt x="8286" y="846"/>
                  <a:pt x="8126" y="641"/>
                  <a:pt x="7943" y="504"/>
                </a:cubicBezTo>
                <a:cubicBezTo>
                  <a:pt x="7578" y="230"/>
                  <a:pt x="7099" y="139"/>
                  <a:pt x="6711" y="70"/>
                </a:cubicBezTo>
                <a:cubicBezTo>
                  <a:pt x="6358" y="23"/>
                  <a:pt x="6001" y="0"/>
                  <a:pt x="564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26" name="Google Shape;11926;p1600"/>
          <p:cNvSpPr/>
          <p:nvPr/>
        </p:nvSpPr>
        <p:spPr>
          <a:xfrm>
            <a:off x="4209513" y="486274"/>
            <a:ext cx="219448" cy="72873"/>
          </a:xfrm>
          <a:custGeom>
            <a:avLst/>
            <a:gdLst/>
            <a:ahLst/>
            <a:cxnLst/>
            <a:rect l="l" t="t" r="r" b="b"/>
            <a:pathLst>
              <a:path w="8218" h="2729" extrusionOk="0">
                <a:moveTo>
                  <a:pt x="3698" y="948"/>
                </a:moveTo>
                <a:cubicBezTo>
                  <a:pt x="3835" y="1017"/>
                  <a:pt x="3972" y="1131"/>
                  <a:pt x="4064" y="1245"/>
                </a:cubicBezTo>
                <a:cubicBezTo>
                  <a:pt x="4315" y="1496"/>
                  <a:pt x="4406" y="1839"/>
                  <a:pt x="4315" y="2113"/>
                </a:cubicBezTo>
                <a:cubicBezTo>
                  <a:pt x="4269" y="2272"/>
                  <a:pt x="4132" y="2409"/>
                  <a:pt x="3995" y="2478"/>
                </a:cubicBezTo>
                <a:cubicBezTo>
                  <a:pt x="3927" y="2501"/>
                  <a:pt x="3858" y="2512"/>
                  <a:pt x="3793" y="2512"/>
                </a:cubicBezTo>
                <a:cubicBezTo>
                  <a:pt x="3727" y="2512"/>
                  <a:pt x="3664" y="2501"/>
                  <a:pt x="3607" y="2478"/>
                </a:cubicBezTo>
                <a:cubicBezTo>
                  <a:pt x="3288" y="2341"/>
                  <a:pt x="3219" y="1861"/>
                  <a:pt x="3379" y="1473"/>
                </a:cubicBezTo>
                <a:cubicBezTo>
                  <a:pt x="3447" y="1291"/>
                  <a:pt x="3562" y="1108"/>
                  <a:pt x="3698" y="948"/>
                </a:cubicBezTo>
                <a:close/>
                <a:moveTo>
                  <a:pt x="5462" y="0"/>
                </a:moveTo>
                <a:cubicBezTo>
                  <a:pt x="5246" y="0"/>
                  <a:pt x="5022" y="24"/>
                  <a:pt x="4794" y="81"/>
                </a:cubicBezTo>
                <a:cubicBezTo>
                  <a:pt x="4360" y="172"/>
                  <a:pt x="3950" y="401"/>
                  <a:pt x="3653" y="697"/>
                </a:cubicBezTo>
                <a:cubicBezTo>
                  <a:pt x="3420" y="620"/>
                  <a:pt x="3177" y="574"/>
                  <a:pt x="2923" y="574"/>
                </a:cubicBezTo>
                <a:cubicBezTo>
                  <a:pt x="2804" y="574"/>
                  <a:pt x="2682" y="584"/>
                  <a:pt x="2557" y="606"/>
                </a:cubicBezTo>
                <a:cubicBezTo>
                  <a:pt x="1918" y="697"/>
                  <a:pt x="1347" y="1063"/>
                  <a:pt x="982" y="1336"/>
                </a:cubicBezTo>
                <a:cubicBezTo>
                  <a:pt x="617" y="1588"/>
                  <a:pt x="183" y="1976"/>
                  <a:pt x="1" y="2501"/>
                </a:cubicBezTo>
                <a:cubicBezTo>
                  <a:pt x="1" y="2546"/>
                  <a:pt x="24" y="2615"/>
                  <a:pt x="69" y="2615"/>
                </a:cubicBezTo>
                <a:cubicBezTo>
                  <a:pt x="86" y="2620"/>
                  <a:pt x="102" y="2623"/>
                  <a:pt x="116" y="2623"/>
                </a:cubicBezTo>
                <a:cubicBezTo>
                  <a:pt x="159" y="2623"/>
                  <a:pt x="189" y="2598"/>
                  <a:pt x="206" y="2546"/>
                </a:cubicBezTo>
                <a:cubicBezTo>
                  <a:pt x="366" y="2090"/>
                  <a:pt x="777" y="1747"/>
                  <a:pt x="1119" y="1496"/>
                </a:cubicBezTo>
                <a:cubicBezTo>
                  <a:pt x="1667" y="1108"/>
                  <a:pt x="2146" y="880"/>
                  <a:pt x="2603" y="811"/>
                </a:cubicBezTo>
                <a:cubicBezTo>
                  <a:pt x="2702" y="796"/>
                  <a:pt x="2803" y="789"/>
                  <a:pt x="2905" y="789"/>
                </a:cubicBezTo>
                <a:cubicBezTo>
                  <a:pt x="3108" y="789"/>
                  <a:pt x="3310" y="819"/>
                  <a:pt x="3493" y="880"/>
                </a:cubicBezTo>
                <a:cubicBezTo>
                  <a:pt x="3356" y="1040"/>
                  <a:pt x="3242" y="1222"/>
                  <a:pt x="3173" y="1405"/>
                </a:cubicBezTo>
                <a:cubicBezTo>
                  <a:pt x="2991" y="1861"/>
                  <a:pt x="3082" y="2478"/>
                  <a:pt x="3516" y="2683"/>
                </a:cubicBezTo>
                <a:cubicBezTo>
                  <a:pt x="3607" y="2706"/>
                  <a:pt x="3698" y="2729"/>
                  <a:pt x="3767" y="2729"/>
                </a:cubicBezTo>
                <a:cubicBezTo>
                  <a:pt x="3881" y="2729"/>
                  <a:pt x="3972" y="2706"/>
                  <a:pt x="4064" y="2660"/>
                </a:cubicBezTo>
                <a:cubicBezTo>
                  <a:pt x="4292" y="2569"/>
                  <a:pt x="4452" y="2386"/>
                  <a:pt x="4520" y="2181"/>
                </a:cubicBezTo>
                <a:cubicBezTo>
                  <a:pt x="4634" y="1839"/>
                  <a:pt x="4520" y="1405"/>
                  <a:pt x="4223" y="1085"/>
                </a:cubicBezTo>
                <a:cubicBezTo>
                  <a:pt x="4109" y="971"/>
                  <a:pt x="3995" y="880"/>
                  <a:pt x="3858" y="789"/>
                </a:cubicBezTo>
                <a:cubicBezTo>
                  <a:pt x="4109" y="560"/>
                  <a:pt x="4475" y="355"/>
                  <a:pt x="4840" y="286"/>
                </a:cubicBezTo>
                <a:cubicBezTo>
                  <a:pt x="5051" y="237"/>
                  <a:pt x="5259" y="216"/>
                  <a:pt x="5460" y="216"/>
                </a:cubicBezTo>
                <a:cubicBezTo>
                  <a:pt x="5995" y="216"/>
                  <a:pt x="6477" y="365"/>
                  <a:pt x="6826" y="515"/>
                </a:cubicBezTo>
                <a:cubicBezTo>
                  <a:pt x="7191" y="675"/>
                  <a:pt x="7875" y="1040"/>
                  <a:pt x="8012" y="1702"/>
                </a:cubicBezTo>
                <a:cubicBezTo>
                  <a:pt x="8012" y="1770"/>
                  <a:pt x="8081" y="1793"/>
                  <a:pt x="8127" y="1793"/>
                </a:cubicBezTo>
                <a:cubicBezTo>
                  <a:pt x="8195" y="1770"/>
                  <a:pt x="8218" y="1724"/>
                  <a:pt x="8218" y="1656"/>
                </a:cubicBezTo>
                <a:cubicBezTo>
                  <a:pt x="8058" y="903"/>
                  <a:pt x="7328" y="492"/>
                  <a:pt x="6894" y="309"/>
                </a:cubicBezTo>
                <a:cubicBezTo>
                  <a:pt x="6531" y="161"/>
                  <a:pt x="6025" y="0"/>
                  <a:pt x="546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27" name="Google Shape;11927;p1600"/>
          <p:cNvSpPr/>
          <p:nvPr/>
        </p:nvSpPr>
        <p:spPr>
          <a:xfrm rot="2700000" flipH="1">
            <a:off x="864474" y="864552"/>
            <a:ext cx="163996" cy="256048"/>
          </a:xfrm>
          <a:custGeom>
            <a:avLst/>
            <a:gdLst/>
            <a:ahLst/>
            <a:cxnLst/>
            <a:rect l="l" t="t" r="r" b="b"/>
            <a:pathLst>
              <a:path w="6141" h="9588" extrusionOk="0">
                <a:moveTo>
                  <a:pt x="5935" y="366"/>
                </a:moveTo>
                <a:lnTo>
                  <a:pt x="5935" y="366"/>
                </a:lnTo>
                <a:cubicBezTo>
                  <a:pt x="5821" y="3356"/>
                  <a:pt x="5547" y="6369"/>
                  <a:pt x="5090" y="9336"/>
                </a:cubicBezTo>
                <a:cubicBezTo>
                  <a:pt x="3424" y="8811"/>
                  <a:pt x="1826" y="8081"/>
                  <a:pt x="274" y="7373"/>
                </a:cubicBezTo>
                <a:cubicBezTo>
                  <a:pt x="1895" y="4840"/>
                  <a:pt x="3789" y="2489"/>
                  <a:pt x="5935" y="366"/>
                </a:cubicBezTo>
                <a:close/>
                <a:moveTo>
                  <a:pt x="6095" y="1"/>
                </a:moveTo>
                <a:cubicBezTo>
                  <a:pt x="6049" y="1"/>
                  <a:pt x="6003" y="1"/>
                  <a:pt x="5958" y="24"/>
                </a:cubicBezTo>
                <a:cubicBezTo>
                  <a:pt x="3721" y="2238"/>
                  <a:pt x="1712" y="4703"/>
                  <a:pt x="23" y="7350"/>
                </a:cubicBezTo>
                <a:cubicBezTo>
                  <a:pt x="0" y="7396"/>
                  <a:pt x="0" y="7419"/>
                  <a:pt x="23" y="7442"/>
                </a:cubicBezTo>
                <a:cubicBezTo>
                  <a:pt x="23" y="7465"/>
                  <a:pt x="46" y="7510"/>
                  <a:pt x="69" y="7510"/>
                </a:cubicBezTo>
                <a:cubicBezTo>
                  <a:pt x="1689" y="8264"/>
                  <a:pt x="3378" y="9040"/>
                  <a:pt x="5159" y="9565"/>
                </a:cubicBezTo>
                <a:cubicBezTo>
                  <a:pt x="5159" y="9587"/>
                  <a:pt x="5182" y="9587"/>
                  <a:pt x="5182" y="9587"/>
                </a:cubicBezTo>
                <a:cubicBezTo>
                  <a:pt x="5204" y="9587"/>
                  <a:pt x="5227" y="9565"/>
                  <a:pt x="5250" y="9565"/>
                </a:cubicBezTo>
                <a:cubicBezTo>
                  <a:pt x="5273" y="9542"/>
                  <a:pt x="5296" y="9519"/>
                  <a:pt x="5296" y="9496"/>
                </a:cubicBezTo>
                <a:cubicBezTo>
                  <a:pt x="5752" y="6392"/>
                  <a:pt x="6049" y="3242"/>
                  <a:pt x="6140" y="115"/>
                </a:cubicBezTo>
                <a:cubicBezTo>
                  <a:pt x="6140" y="69"/>
                  <a:pt x="6117" y="24"/>
                  <a:pt x="6095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28" name="Google Shape;11928;p1600"/>
          <p:cNvSpPr/>
          <p:nvPr/>
        </p:nvSpPr>
        <p:spPr>
          <a:xfrm>
            <a:off x="7362613" y="6444408"/>
            <a:ext cx="219448" cy="72873"/>
          </a:xfrm>
          <a:custGeom>
            <a:avLst/>
            <a:gdLst/>
            <a:ahLst/>
            <a:cxnLst/>
            <a:rect l="l" t="t" r="r" b="b"/>
            <a:pathLst>
              <a:path w="8218" h="2729" extrusionOk="0">
                <a:moveTo>
                  <a:pt x="3698" y="948"/>
                </a:moveTo>
                <a:cubicBezTo>
                  <a:pt x="3835" y="1017"/>
                  <a:pt x="3972" y="1131"/>
                  <a:pt x="4064" y="1245"/>
                </a:cubicBezTo>
                <a:cubicBezTo>
                  <a:pt x="4315" y="1496"/>
                  <a:pt x="4406" y="1839"/>
                  <a:pt x="4315" y="2113"/>
                </a:cubicBezTo>
                <a:cubicBezTo>
                  <a:pt x="4269" y="2272"/>
                  <a:pt x="4132" y="2409"/>
                  <a:pt x="3995" y="2478"/>
                </a:cubicBezTo>
                <a:cubicBezTo>
                  <a:pt x="3927" y="2501"/>
                  <a:pt x="3858" y="2512"/>
                  <a:pt x="3793" y="2512"/>
                </a:cubicBezTo>
                <a:cubicBezTo>
                  <a:pt x="3727" y="2512"/>
                  <a:pt x="3664" y="2501"/>
                  <a:pt x="3607" y="2478"/>
                </a:cubicBezTo>
                <a:cubicBezTo>
                  <a:pt x="3288" y="2341"/>
                  <a:pt x="3219" y="1861"/>
                  <a:pt x="3379" y="1473"/>
                </a:cubicBezTo>
                <a:cubicBezTo>
                  <a:pt x="3447" y="1291"/>
                  <a:pt x="3562" y="1108"/>
                  <a:pt x="3698" y="948"/>
                </a:cubicBezTo>
                <a:close/>
                <a:moveTo>
                  <a:pt x="5462" y="0"/>
                </a:moveTo>
                <a:cubicBezTo>
                  <a:pt x="5246" y="0"/>
                  <a:pt x="5022" y="24"/>
                  <a:pt x="4794" y="81"/>
                </a:cubicBezTo>
                <a:cubicBezTo>
                  <a:pt x="4360" y="172"/>
                  <a:pt x="3950" y="401"/>
                  <a:pt x="3653" y="697"/>
                </a:cubicBezTo>
                <a:cubicBezTo>
                  <a:pt x="3420" y="620"/>
                  <a:pt x="3177" y="574"/>
                  <a:pt x="2923" y="574"/>
                </a:cubicBezTo>
                <a:cubicBezTo>
                  <a:pt x="2804" y="574"/>
                  <a:pt x="2682" y="584"/>
                  <a:pt x="2557" y="606"/>
                </a:cubicBezTo>
                <a:cubicBezTo>
                  <a:pt x="1918" y="697"/>
                  <a:pt x="1347" y="1063"/>
                  <a:pt x="982" y="1336"/>
                </a:cubicBezTo>
                <a:cubicBezTo>
                  <a:pt x="617" y="1588"/>
                  <a:pt x="183" y="1976"/>
                  <a:pt x="1" y="2501"/>
                </a:cubicBezTo>
                <a:cubicBezTo>
                  <a:pt x="1" y="2546"/>
                  <a:pt x="24" y="2615"/>
                  <a:pt x="69" y="2615"/>
                </a:cubicBezTo>
                <a:cubicBezTo>
                  <a:pt x="86" y="2620"/>
                  <a:pt x="102" y="2623"/>
                  <a:pt x="116" y="2623"/>
                </a:cubicBezTo>
                <a:cubicBezTo>
                  <a:pt x="159" y="2623"/>
                  <a:pt x="189" y="2598"/>
                  <a:pt x="206" y="2546"/>
                </a:cubicBezTo>
                <a:cubicBezTo>
                  <a:pt x="366" y="2090"/>
                  <a:pt x="777" y="1747"/>
                  <a:pt x="1119" y="1496"/>
                </a:cubicBezTo>
                <a:cubicBezTo>
                  <a:pt x="1667" y="1108"/>
                  <a:pt x="2146" y="880"/>
                  <a:pt x="2603" y="811"/>
                </a:cubicBezTo>
                <a:cubicBezTo>
                  <a:pt x="2702" y="796"/>
                  <a:pt x="2803" y="789"/>
                  <a:pt x="2905" y="789"/>
                </a:cubicBezTo>
                <a:cubicBezTo>
                  <a:pt x="3108" y="789"/>
                  <a:pt x="3310" y="819"/>
                  <a:pt x="3493" y="880"/>
                </a:cubicBezTo>
                <a:cubicBezTo>
                  <a:pt x="3356" y="1040"/>
                  <a:pt x="3242" y="1222"/>
                  <a:pt x="3173" y="1405"/>
                </a:cubicBezTo>
                <a:cubicBezTo>
                  <a:pt x="2991" y="1861"/>
                  <a:pt x="3082" y="2478"/>
                  <a:pt x="3516" y="2683"/>
                </a:cubicBezTo>
                <a:cubicBezTo>
                  <a:pt x="3607" y="2706"/>
                  <a:pt x="3698" y="2729"/>
                  <a:pt x="3767" y="2729"/>
                </a:cubicBezTo>
                <a:cubicBezTo>
                  <a:pt x="3881" y="2729"/>
                  <a:pt x="3972" y="2706"/>
                  <a:pt x="4064" y="2660"/>
                </a:cubicBezTo>
                <a:cubicBezTo>
                  <a:pt x="4292" y="2569"/>
                  <a:pt x="4452" y="2386"/>
                  <a:pt x="4520" y="2181"/>
                </a:cubicBezTo>
                <a:cubicBezTo>
                  <a:pt x="4634" y="1839"/>
                  <a:pt x="4520" y="1405"/>
                  <a:pt x="4223" y="1085"/>
                </a:cubicBezTo>
                <a:cubicBezTo>
                  <a:pt x="4109" y="971"/>
                  <a:pt x="3995" y="880"/>
                  <a:pt x="3858" y="789"/>
                </a:cubicBezTo>
                <a:cubicBezTo>
                  <a:pt x="4109" y="560"/>
                  <a:pt x="4475" y="355"/>
                  <a:pt x="4840" y="286"/>
                </a:cubicBezTo>
                <a:cubicBezTo>
                  <a:pt x="5051" y="237"/>
                  <a:pt x="5259" y="216"/>
                  <a:pt x="5460" y="216"/>
                </a:cubicBezTo>
                <a:cubicBezTo>
                  <a:pt x="5995" y="216"/>
                  <a:pt x="6477" y="365"/>
                  <a:pt x="6826" y="515"/>
                </a:cubicBezTo>
                <a:cubicBezTo>
                  <a:pt x="7191" y="675"/>
                  <a:pt x="7875" y="1040"/>
                  <a:pt x="8012" y="1702"/>
                </a:cubicBezTo>
                <a:cubicBezTo>
                  <a:pt x="8012" y="1770"/>
                  <a:pt x="8081" y="1793"/>
                  <a:pt x="8127" y="1793"/>
                </a:cubicBezTo>
                <a:cubicBezTo>
                  <a:pt x="8195" y="1770"/>
                  <a:pt x="8218" y="1724"/>
                  <a:pt x="8218" y="1656"/>
                </a:cubicBezTo>
                <a:cubicBezTo>
                  <a:pt x="8058" y="903"/>
                  <a:pt x="7328" y="492"/>
                  <a:pt x="6894" y="309"/>
                </a:cubicBezTo>
                <a:cubicBezTo>
                  <a:pt x="6531" y="161"/>
                  <a:pt x="6025" y="0"/>
                  <a:pt x="546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29" name="Google Shape;11929;p1600"/>
          <p:cNvSpPr/>
          <p:nvPr/>
        </p:nvSpPr>
        <p:spPr>
          <a:xfrm flipH="1">
            <a:off x="4280249" y="6457603"/>
            <a:ext cx="124028" cy="151235"/>
          </a:xfrm>
          <a:custGeom>
            <a:avLst/>
            <a:gdLst/>
            <a:ahLst/>
            <a:cxnLst/>
            <a:rect l="l" t="t" r="r" b="b"/>
            <a:pathLst>
              <a:path w="6141" h="9588" extrusionOk="0">
                <a:moveTo>
                  <a:pt x="5935" y="366"/>
                </a:moveTo>
                <a:lnTo>
                  <a:pt x="5935" y="366"/>
                </a:lnTo>
                <a:cubicBezTo>
                  <a:pt x="5821" y="3356"/>
                  <a:pt x="5547" y="6369"/>
                  <a:pt x="5090" y="9336"/>
                </a:cubicBezTo>
                <a:cubicBezTo>
                  <a:pt x="3424" y="8811"/>
                  <a:pt x="1826" y="8081"/>
                  <a:pt x="274" y="7373"/>
                </a:cubicBezTo>
                <a:cubicBezTo>
                  <a:pt x="1895" y="4840"/>
                  <a:pt x="3789" y="2489"/>
                  <a:pt x="5935" y="366"/>
                </a:cubicBezTo>
                <a:close/>
                <a:moveTo>
                  <a:pt x="6095" y="1"/>
                </a:moveTo>
                <a:cubicBezTo>
                  <a:pt x="6049" y="1"/>
                  <a:pt x="6003" y="1"/>
                  <a:pt x="5958" y="24"/>
                </a:cubicBezTo>
                <a:cubicBezTo>
                  <a:pt x="3721" y="2238"/>
                  <a:pt x="1712" y="4703"/>
                  <a:pt x="23" y="7350"/>
                </a:cubicBezTo>
                <a:cubicBezTo>
                  <a:pt x="0" y="7396"/>
                  <a:pt x="0" y="7419"/>
                  <a:pt x="23" y="7442"/>
                </a:cubicBezTo>
                <a:cubicBezTo>
                  <a:pt x="23" y="7465"/>
                  <a:pt x="46" y="7510"/>
                  <a:pt x="69" y="7510"/>
                </a:cubicBezTo>
                <a:cubicBezTo>
                  <a:pt x="1689" y="8264"/>
                  <a:pt x="3378" y="9040"/>
                  <a:pt x="5159" y="9565"/>
                </a:cubicBezTo>
                <a:cubicBezTo>
                  <a:pt x="5159" y="9587"/>
                  <a:pt x="5182" y="9587"/>
                  <a:pt x="5182" y="9587"/>
                </a:cubicBezTo>
                <a:cubicBezTo>
                  <a:pt x="5204" y="9587"/>
                  <a:pt x="5227" y="9565"/>
                  <a:pt x="5250" y="9565"/>
                </a:cubicBezTo>
                <a:cubicBezTo>
                  <a:pt x="5273" y="9542"/>
                  <a:pt x="5296" y="9519"/>
                  <a:pt x="5296" y="9496"/>
                </a:cubicBezTo>
                <a:cubicBezTo>
                  <a:pt x="5752" y="6392"/>
                  <a:pt x="6049" y="3242"/>
                  <a:pt x="6140" y="115"/>
                </a:cubicBezTo>
                <a:cubicBezTo>
                  <a:pt x="6140" y="69"/>
                  <a:pt x="6117" y="24"/>
                  <a:pt x="6095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930" name="Google Shape;11930;p1600"/>
          <p:cNvGrpSpPr/>
          <p:nvPr/>
        </p:nvGrpSpPr>
        <p:grpSpPr>
          <a:xfrm>
            <a:off x="-291061" y="4128521"/>
            <a:ext cx="1732868" cy="3535935"/>
            <a:chOff x="-218296" y="3096390"/>
            <a:chExt cx="1299651" cy="2651951"/>
          </a:xfrm>
        </p:grpSpPr>
        <p:sp>
          <p:nvSpPr>
            <p:cNvPr id="11931" name="Google Shape;11931;p1600"/>
            <p:cNvSpPr/>
            <p:nvPr/>
          </p:nvSpPr>
          <p:spPr>
            <a:xfrm flipH="1">
              <a:off x="-218296" y="3096390"/>
              <a:ext cx="692948" cy="785102"/>
            </a:xfrm>
            <a:custGeom>
              <a:avLst/>
              <a:gdLst/>
              <a:ahLst/>
              <a:cxnLst/>
              <a:rect l="l" t="t" r="r" b="b"/>
              <a:pathLst>
                <a:path w="25679" h="29094" extrusionOk="0">
                  <a:moveTo>
                    <a:pt x="15362" y="0"/>
                  </a:moveTo>
                  <a:cubicBezTo>
                    <a:pt x="14997" y="0"/>
                    <a:pt x="14631" y="16"/>
                    <a:pt x="14266" y="43"/>
                  </a:cubicBezTo>
                  <a:cubicBezTo>
                    <a:pt x="13581" y="112"/>
                    <a:pt x="12897" y="203"/>
                    <a:pt x="12280" y="500"/>
                  </a:cubicBezTo>
                  <a:cubicBezTo>
                    <a:pt x="11504" y="888"/>
                    <a:pt x="10911" y="1550"/>
                    <a:pt x="10409" y="2234"/>
                  </a:cubicBezTo>
                  <a:cubicBezTo>
                    <a:pt x="8080" y="5498"/>
                    <a:pt x="7533" y="9653"/>
                    <a:pt x="6254" y="13464"/>
                  </a:cubicBezTo>
                  <a:cubicBezTo>
                    <a:pt x="6232" y="13533"/>
                    <a:pt x="6186" y="13624"/>
                    <a:pt x="6140" y="13693"/>
                  </a:cubicBezTo>
                  <a:cubicBezTo>
                    <a:pt x="6088" y="13737"/>
                    <a:pt x="6021" y="13758"/>
                    <a:pt x="5951" y="13758"/>
                  </a:cubicBezTo>
                  <a:cubicBezTo>
                    <a:pt x="5806" y="13758"/>
                    <a:pt x="5647" y="13671"/>
                    <a:pt x="5570" y="13533"/>
                  </a:cubicBezTo>
                  <a:cubicBezTo>
                    <a:pt x="5456" y="13350"/>
                    <a:pt x="5478" y="13099"/>
                    <a:pt x="5501" y="12871"/>
                  </a:cubicBezTo>
                  <a:cubicBezTo>
                    <a:pt x="5752" y="10383"/>
                    <a:pt x="6277" y="7941"/>
                    <a:pt x="7053" y="5544"/>
                  </a:cubicBezTo>
                  <a:cubicBezTo>
                    <a:pt x="7259" y="4928"/>
                    <a:pt x="7464" y="4289"/>
                    <a:pt x="7487" y="3627"/>
                  </a:cubicBezTo>
                  <a:cubicBezTo>
                    <a:pt x="7510" y="2965"/>
                    <a:pt x="7282" y="2257"/>
                    <a:pt x="6734" y="1869"/>
                  </a:cubicBezTo>
                  <a:cubicBezTo>
                    <a:pt x="6438" y="1663"/>
                    <a:pt x="6097" y="1577"/>
                    <a:pt x="5742" y="1577"/>
                  </a:cubicBezTo>
                  <a:cubicBezTo>
                    <a:pt x="5195" y="1577"/>
                    <a:pt x="4617" y="1784"/>
                    <a:pt x="4132" y="2075"/>
                  </a:cubicBezTo>
                  <a:cubicBezTo>
                    <a:pt x="3196" y="2622"/>
                    <a:pt x="2443" y="3467"/>
                    <a:pt x="1872" y="4403"/>
                  </a:cubicBezTo>
                  <a:cubicBezTo>
                    <a:pt x="0" y="7461"/>
                    <a:pt x="137" y="11296"/>
                    <a:pt x="662" y="14834"/>
                  </a:cubicBezTo>
                  <a:cubicBezTo>
                    <a:pt x="1233" y="18509"/>
                    <a:pt x="2169" y="22138"/>
                    <a:pt x="3470" y="25608"/>
                  </a:cubicBezTo>
                  <a:cubicBezTo>
                    <a:pt x="3903" y="26772"/>
                    <a:pt x="4588" y="28164"/>
                    <a:pt x="5958" y="28735"/>
                  </a:cubicBezTo>
                  <a:cubicBezTo>
                    <a:pt x="6548" y="28997"/>
                    <a:pt x="7176" y="29093"/>
                    <a:pt x="7811" y="29093"/>
                  </a:cubicBezTo>
                  <a:cubicBezTo>
                    <a:pt x="8281" y="29093"/>
                    <a:pt x="8756" y="29041"/>
                    <a:pt x="9222" y="28963"/>
                  </a:cubicBezTo>
                  <a:cubicBezTo>
                    <a:pt x="13673" y="28255"/>
                    <a:pt x="17485" y="25379"/>
                    <a:pt x="20657" y="22161"/>
                  </a:cubicBezTo>
                  <a:cubicBezTo>
                    <a:pt x="22050" y="20746"/>
                    <a:pt x="23351" y="19216"/>
                    <a:pt x="24264" y="17459"/>
                  </a:cubicBezTo>
                  <a:cubicBezTo>
                    <a:pt x="25177" y="15701"/>
                    <a:pt x="25679" y="13670"/>
                    <a:pt x="25382" y="11730"/>
                  </a:cubicBezTo>
                  <a:cubicBezTo>
                    <a:pt x="25291" y="11182"/>
                    <a:pt x="25108" y="10611"/>
                    <a:pt x="24652" y="10337"/>
                  </a:cubicBezTo>
                  <a:cubicBezTo>
                    <a:pt x="24472" y="10236"/>
                    <a:pt x="24273" y="10190"/>
                    <a:pt x="24071" y="10190"/>
                  </a:cubicBezTo>
                  <a:cubicBezTo>
                    <a:pt x="23686" y="10190"/>
                    <a:pt x="23293" y="10356"/>
                    <a:pt x="23008" y="10611"/>
                  </a:cubicBezTo>
                  <a:cubicBezTo>
                    <a:pt x="22552" y="10999"/>
                    <a:pt x="22278" y="11524"/>
                    <a:pt x="22004" y="12049"/>
                  </a:cubicBezTo>
                  <a:cubicBezTo>
                    <a:pt x="20885" y="14241"/>
                    <a:pt x="19516" y="16295"/>
                    <a:pt x="17918" y="18166"/>
                  </a:cubicBezTo>
                  <a:cubicBezTo>
                    <a:pt x="19288" y="15222"/>
                    <a:pt x="20657" y="12255"/>
                    <a:pt x="21639" y="9173"/>
                  </a:cubicBezTo>
                  <a:cubicBezTo>
                    <a:pt x="22232" y="7347"/>
                    <a:pt x="22643" y="5316"/>
                    <a:pt x="21913" y="3558"/>
                  </a:cubicBezTo>
                  <a:cubicBezTo>
                    <a:pt x="21342" y="2166"/>
                    <a:pt x="20087" y="1116"/>
                    <a:pt x="18694" y="568"/>
                  </a:cubicBezTo>
                  <a:cubicBezTo>
                    <a:pt x="17639" y="153"/>
                    <a:pt x="16505" y="0"/>
                    <a:pt x="1536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67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32" name="Google Shape;11932;p1600"/>
            <p:cNvSpPr/>
            <p:nvPr/>
          </p:nvSpPr>
          <p:spPr>
            <a:xfrm flipH="1">
              <a:off x="-105580" y="3623515"/>
              <a:ext cx="1186935" cy="2124826"/>
            </a:xfrm>
            <a:custGeom>
              <a:avLst/>
              <a:gdLst/>
              <a:ahLst/>
              <a:cxnLst/>
              <a:rect l="l" t="t" r="r" b="b"/>
              <a:pathLst>
                <a:path w="43985" h="78741" extrusionOk="0">
                  <a:moveTo>
                    <a:pt x="15204" y="1"/>
                  </a:moveTo>
                  <a:cubicBezTo>
                    <a:pt x="14564" y="1"/>
                    <a:pt x="13931" y="314"/>
                    <a:pt x="13467" y="755"/>
                  </a:cubicBezTo>
                  <a:cubicBezTo>
                    <a:pt x="12303" y="1805"/>
                    <a:pt x="11938" y="3517"/>
                    <a:pt x="12098" y="5092"/>
                  </a:cubicBezTo>
                  <a:cubicBezTo>
                    <a:pt x="12280" y="6644"/>
                    <a:pt x="12874" y="8105"/>
                    <a:pt x="13376" y="9611"/>
                  </a:cubicBezTo>
                  <a:cubicBezTo>
                    <a:pt x="15727" y="16824"/>
                    <a:pt x="15248" y="24653"/>
                    <a:pt x="13833" y="32140"/>
                  </a:cubicBezTo>
                  <a:cubicBezTo>
                    <a:pt x="12098" y="36226"/>
                    <a:pt x="10957" y="40585"/>
                    <a:pt x="10432" y="44991"/>
                  </a:cubicBezTo>
                  <a:cubicBezTo>
                    <a:pt x="9929" y="41224"/>
                    <a:pt x="8811" y="37435"/>
                    <a:pt x="8583" y="33601"/>
                  </a:cubicBezTo>
                  <a:cubicBezTo>
                    <a:pt x="8332" y="29538"/>
                    <a:pt x="9062" y="25407"/>
                    <a:pt x="8103" y="21458"/>
                  </a:cubicBezTo>
                  <a:cubicBezTo>
                    <a:pt x="7838" y="20331"/>
                    <a:pt x="7124" y="19034"/>
                    <a:pt x="6003" y="19034"/>
                  </a:cubicBezTo>
                  <a:cubicBezTo>
                    <a:pt x="5966" y="19034"/>
                    <a:pt x="5928" y="19035"/>
                    <a:pt x="5889" y="19038"/>
                  </a:cubicBezTo>
                  <a:cubicBezTo>
                    <a:pt x="5364" y="19084"/>
                    <a:pt x="4908" y="19426"/>
                    <a:pt x="4565" y="19814"/>
                  </a:cubicBezTo>
                  <a:cubicBezTo>
                    <a:pt x="3516" y="21001"/>
                    <a:pt x="3264" y="22645"/>
                    <a:pt x="3173" y="24197"/>
                  </a:cubicBezTo>
                  <a:cubicBezTo>
                    <a:pt x="2945" y="28465"/>
                    <a:pt x="3607" y="32756"/>
                    <a:pt x="5136" y="36751"/>
                  </a:cubicBezTo>
                  <a:cubicBezTo>
                    <a:pt x="6711" y="40836"/>
                    <a:pt x="9199" y="44671"/>
                    <a:pt x="10135" y="48871"/>
                  </a:cubicBezTo>
                  <a:cubicBezTo>
                    <a:pt x="9929" y="55947"/>
                    <a:pt x="11482" y="63182"/>
                    <a:pt x="14905" y="69254"/>
                  </a:cubicBezTo>
                  <a:cubicBezTo>
                    <a:pt x="11938" y="66560"/>
                    <a:pt x="9678" y="63228"/>
                    <a:pt x="8240" y="59553"/>
                  </a:cubicBezTo>
                  <a:cubicBezTo>
                    <a:pt x="6985" y="56358"/>
                    <a:pt x="6346" y="52934"/>
                    <a:pt x="4976" y="49784"/>
                  </a:cubicBezTo>
                  <a:cubicBezTo>
                    <a:pt x="4680" y="49168"/>
                    <a:pt x="4337" y="48506"/>
                    <a:pt x="3698" y="48232"/>
                  </a:cubicBezTo>
                  <a:cubicBezTo>
                    <a:pt x="3521" y="48163"/>
                    <a:pt x="3337" y="48132"/>
                    <a:pt x="3153" y="48132"/>
                  </a:cubicBezTo>
                  <a:cubicBezTo>
                    <a:pt x="2600" y="48132"/>
                    <a:pt x="2043" y="48414"/>
                    <a:pt x="1667" y="48825"/>
                  </a:cubicBezTo>
                  <a:cubicBezTo>
                    <a:pt x="1164" y="49396"/>
                    <a:pt x="936" y="50149"/>
                    <a:pt x="799" y="50880"/>
                  </a:cubicBezTo>
                  <a:cubicBezTo>
                    <a:pt x="0" y="55148"/>
                    <a:pt x="1781" y="59599"/>
                    <a:pt x="4702" y="62794"/>
                  </a:cubicBezTo>
                  <a:cubicBezTo>
                    <a:pt x="7510" y="65899"/>
                    <a:pt x="11253" y="67998"/>
                    <a:pt x="15111" y="69619"/>
                  </a:cubicBezTo>
                  <a:cubicBezTo>
                    <a:pt x="17051" y="72952"/>
                    <a:pt x="19539" y="75919"/>
                    <a:pt x="22620" y="78293"/>
                  </a:cubicBezTo>
                  <a:cubicBezTo>
                    <a:pt x="22926" y="78526"/>
                    <a:pt x="23344" y="78740"/>
                    <a:pt x="23701" y="78740"/>
                  </a:cubicBezTo>
                  <a:cubicBezTo>
                    <a:pt x="23903" y="78740"/>
                    <a:pt x="24086" y="78671"/>
                    <a:pt x="24218" y="78498"/>
                  </a:cubicBezTo>
                  <a:cubicBezTo>
                    <a:pt x="19288" y="74960"/>
                    <a:pt x="15818" y="69665"/>
                    <a:pt x="13673" y="63981"/>
                  </a:cubicBezTo>
                  <a:cubicBezTo>
                    <a:pt x="13330" y="63045"/>
                    <a:pt x="13011" y="62087"/>
                    <a:pt x="12737" y="61128"/>
                  </a:cubicBezTo>
                  <a:cubicBezTo>
                    <a:pt x="12303" y="55148"/>
                    <a:pt x="13764" y="49122"/>
                    <a:pt x="17416" y="44534"/>
                  </a:cubicBezTo>
                  <a:cubicBezTo>
                    <a:pt x="19813" y="41476"/>
                    <a:pt x="23077" y="39170"/>
                    <a:pt x="25451" y="36089"/>
                  </a:cubicBezTo>
                  <a:cubicBezTo>
                    <a:pt x="26090" y="35244"/>
                    <a:pt x="26683" y="34103"/>
                    <a:pt x="26135" y="33190"/>
                  </a:cubicBezTo>
                  <a:cubicBezTo>
                    <a:pt x="25784" y="32575"/>
                    <a:pt x="25085" y="32364"/>
                    <a:pt x="24346" y="32364"/>
                  </a:cubicBezTo>
                  <a:cubicBezTo>
                    <a:pt x="23933" y="32364"/>
                    <a:pt x="23507" y="32430"/>
                    <a:pt x="23122" y="32528"/>
                  </a:cubicBezTo>
                  <a:cubicBezTo>
                    <a:pt x="19105" y="33624"/>
                    <a:pt x="15978" y="36910"/>
                    <a:pt x="13969" y="40563"/>
                  </a:cubicBezTo>
                  <a:cubicBezTo>
                    <a:pt x="12372" y="43507"/>
                    <a:pt x="11390" y="46771"/>
                    <a:pt x="11048" y="50081"/>
                  </a:cubicBezTo>
                  <a:cubicBezTo>
                    <a:pt x="10934" y="43986"/>
                    <a:pt x="12098" y="37846"/>
                    <a:pt x="14494" y="32231"/>
                  </a:cubicBezTo>
                  <a:cubicBezTo>
                    <a:pt x="17895" y="28077"/>
                    <a:pt x="22529" y="24904"/>
                    <a:pt x="27665" y="23147"/>
                  </a:cubicBezTo>
                  <a:cubicBezTo>
                    <a:pt x="32595" y="21481"/>
                    <a:pt x="38096" y="21047"/>
                    <a:pt x="42319" y="18011"/>
                  </a:cubicBezTo>
                  <a:cubicBezTo>
                    <a:pt x="42844" y="17623"/>
                    <a:pt x="43368" y="17189"/>
                    <a:pt x="43665" y="16596"/>
                  </a:cubicBezTo>
                  <a:cubicBezTo>
                    <a:pt x="43962" y="16003"/>
                    <a:pt x="43985" y="15226"/>
                    <a:pt x="43551" y="14724"/>
                  </a:cubicBezTo>
                  <a:cubicBezTo>
                    <a:pt x="43277" y="14428"/>
                    <a:pt x="42889" y="14245"/>
                    <a:pt x="42524" y="14108"/>
                  </a:cubicBezTo>
                  <a:cubicBezTo>
                    <a:pt x="41374" y="13717"/>
                    <a:pt x="40169" y="13560"/>
                    <a:pt x="38953" y="13560"/>
                  </a:cubicBezTo>
                  <a:cubicBezTo>
                    <a:pt x="37827" y="13560"/>
                    <a:pt x="36693" y="13694"/>
                    <a:pt x="35585" y="13903"/>
                  </a:cubicBezTo>
                  <a:cubicBezTo>
                    <a:pt x="30153" y="14884"/>
                    <a:pt x="25085" y="17623"/>
                    <a:pt x="21114" y="21458"/>
                  </a:cubicBezTo>
                  <a:cubicBezTo>
                    <a:pt x="21548" y="20864"/>
                    <a:pt x="22004" y="20294"/>
                    <a:pt x="22461" y="19723"/>
                  </a:cubicBezTo>
                  <a:cubicBezTo>
                    <a:pt x="24241" y="17463"/>
                    <a:pt x="25998" y="15204"/>
                    <a:pt x="27779" y="12967"/>
                  </a:cubicBezTo>
                  <a:cubicBezTo>
                    <a:pt x="28190" y="12419"/>
                    <a:pt x="28646" y="11848"/>
                    <a:pt x="29194" y="11437"/>
                  </a:cubicBezTo>
                  <a:cubicBezTo>
                    <a:pt x="30175" y="10730"/>
                    <a:pt x="31431" y="10502"/>
                    <a:pt x="32572" y="10114"/>
                  </a:cubicBezTo>
                  <a:cubicBezTo>
                    <a:pt x="33736" y="9748"/>
                    <a:pt x="34946" y="9086"/>
                    <a:pt x="35357" y="7945"/>
                  </a:cubicBezTo>
                  <a:cubicBezTo>
                    <a:pt x="34923" y="7788"/>
                    <a:pt x="34458" y="7710"/>
                    <a:pt x="33993" y="7710"/>
                  </a:cubicBezTo>
                  <a:cubicBezTo>
                    <a:pt x="33309" y="7710"/>
                    <a:pt x="32622" y="7879"/>
                    <a:pt x="32024" y="8219"/>
                  </a:cubicBezTo>
                  <a:cubicBezTo>
                    <a:pt x="32892" y="7215"/>
                    <a:pt x="33531" y="6051"/>
                    <a:pt x="33896" y="4772"/>
                  </a:cubicBezTo>
                  <a:cubicBezTo>
                    <a:pt x="33987" y="4499"/>
                    <a:pt x="34033" y="4179"/>
                    <a:pt x="33873" y="3951"/>
                  </a:cubicBezTo>
                  <a:cubicBezTo>
                    <a:pt x="33753" y="3779"/>
                    <a:pt x="33580" y="3710"/>
                    <a:pt x="33389" y="3710"/>
                  </a:cubicBezTo>
                  <a:cubicBezTo>
                    <a:pt x="33073" y="3710"/>
                    <a:pt x="32705" y="3897"/>
                    <a:pt x="32435" y="4111"/>
                  </a:cubicBezTo>
                  <a:cubicBezTo>
                    <a:pt x="31522" y="4864"/>
                    <a:pt x="30746" y="5777"/>
                    <a:pt x="30153" y="6827"/>
                  </a:cubicBezTo>
                  <a:cubicBezTo>
                    <a:pt x="30563" y="5343"/>
                    <a:pt x="30700" y="3768"/>
                    <a:pt x="30495" y="2239"/>
                  </a:cubicBezTo>
                  <a:cubicBezTo>
                    <a:pt x="30449" y="1897"/>
                    <a:pt x="30335" y="1508"/>
                    <a:pt x="30016" y="1417"/>
                  </a:cubicBezTo>
                  <a:cubicBezTo>
                    <a:pt x="29975" y="1406"/>
                    <a:pt x="29935" y="1401"/>
                    <a:pt x="29896" y="1401"/>
                  </a:cubicBezTo>
                  <a:cubicBezTo>
                    <a:pt x="29605" y="1401"/>
                    <a:pt x="29352" y="1683"/>
                    <a:pt x="29171" y="1965"/>
                  </a:cubicBezTo>
                  <a:cubicBezTo>
                    <a:pt x="28190" y="3517"/>
                    <a:pt x="27596" y="5343"/>
                    <a:pt x="27505" y="7215"/>
                  </a:cubicBezTo>
                  <a:cubicBezTo>
                    <a:pt x="27414" y="6165"/>
                    <a:pt x="27003" y="5161"/>
                    <a:pt x="26364" y="4339"/>
                  </a:cubicBezTo>
                  <a:cubicBezTo>
                    <a:pt x="26139" y="4045"/>
                    <a:pt x="25783" y="3764"/>
                    <a:pt x="25455" y="3764"/>
                  </a:cubicBezTo>
                  <a:cubicBezTo>
                    <a:pt x="25350" y="3764"/>
                    <a:pt x="25248" y="3793"/>
                    <a:pt x="25154" y="3859"/>
                  </a:cubicBezTo>
                  <a:cubicBezTo>
                    <a:pt x="24834" y="4065"/>
                    <a:pt x="24834" y="4499"/>
                    <a:pt x="24880" y="4864"/>
                  </a:cubicBezTo>
                  <a:cubicBezTo>
                    <a:pt x="25108" y="7192"/>
                    <a:pt x="25930" y="9474"/>
                    <a:pt x="27528" y="11346"/>
                  </a:cubicBezTo>
                  <a:cubicBezTo>
                    <a:pt x="24720" y="15820"/>
                    <a:pt x="21068" y="19700"/>
                    <a:pt x="18124" y="24105"/>
                  </a:cubicBezTo>
                  <a:cubicBezTo>
                    <a:pt x="17256" y="25429"/>
                    <a:pt x="16435" y="26776"/>
                    <a:pt x="15704" y="28191"/>
                  </a:cubicBezTo>
                  <a:cubicBezTo>
                    <a:pt x="16982" y="24562"/>
                    <a:pt x="17918" y="20819"/>
                    <a:pt x="18512" y="17030"/>
                  </a:cubicBezTo>
                  <a:cubicBezTo>
                    <a:pt x="19196" y="12602"/>
                    <a:pt x="19402" y="8059"/>
                    <a:pt x="18420" y="3723"/>
                  </a:cubicBezTo>
                  <a:cubicBezTo>
                    <a:pt x="18010" y="2011"/>
                    <a:pt x="17028" y="25"/>
                    <a:pt x="15271" y="2"/>
                  </a:cubicBezTo>
                  <a:cubicBezTo>
                    <a:pt x="15248" y="1"/>
                    <a:pt x="15226" y="1"/>
                    <a:pt x="1520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67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934" name="Google Shape;11934;p16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35" name="Google Shape;11935;p16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36" name="Google Shape;11936;p16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37" name="Google Shape;11937;p16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38" name="Google Shape;11938;p16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939" name="Google Shape;11939;p16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40" name="Google Shape;11940;p160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41" name="Google Shape;11941;p16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42" name="Google Shape;11942;p16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43" name="Google Shape;11943;p16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Photo Slide">
  <p:cSld name="24_Photo Slide">
    <p:spTree>
      <p:nvGrpSpPr>
        <p:cNvPr id="1" name="Shape 11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5" name="Google Shape;11945;p160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946" name="Google Shape;11946;p160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1947" name="Google Shape;11947;p160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948" name="Google Shape;11948;p160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49" name="Google Shape;11949;p160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950" name="Google Shape;11950;p160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951" name="Google Shape;11951;p16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spTree>
      <p:nvGrpSpPr>
        <p:cNvPr id="1" name="Shape 9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78" name="Google Shape;9178;p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179" name="Google Shape;9179;p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80" name="Google Shape;9180;p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81" name="Google Shape;9181;p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182" name="Google Shape;9182;p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183" name="Google Shape;9183;p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84" name="Google Shape;9184;p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995612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74269880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86740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52410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7814559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67731947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807901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9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86" name="Google Shape;9186;p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87" name="Google Shape;9187;p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88" name="Google Shape;9188;p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89" name="Google Shape;9189;p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90" name="Google Shape;9190;p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91" name="Google Shape;9191;p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2" name="Google Shape;9192;p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93" name="Google Shape;9193;p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94" name="Google Shape;9194;p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95" name="Google Shape;9195;p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79075790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017126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563202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924085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8267146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9500859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9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7" name="Google Shape;9197;p133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98" name="Google Shape;9198;p133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9" name="Google Shape;9199;p133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200" name="Google Shape;9200;p13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201" name="Google Shape;9201;p133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202" name="Google Shape;9202;p13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03" name="Google Shape;9203;p133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04" name="Google Shape;9204;p13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spTree>
      <p:nvGrpSpPr>
        <p:cNvPr id="1" name="Shape 9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06" name="Google Shape;9206;p13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207" name="Google Shape;9207;p13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08" name="Google Shape;9208;p13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09" name="Google Shape;9209;p13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10" name="Google Shape;9210;p13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11" name="Google Shape;9211;p13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2" name="Google Shape;9212;p13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2012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03459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72595662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9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4" name="Google Shape;9214;p133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215" name="Google Shape;9215;p133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216" name="Google Shape;9216;p133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217" name="Google Shape;9217;p133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18" name="Google Shape;9218;p133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19" name="Google Shape;9219;p133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220" name="Google Shape;9220;p13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16702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72221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2342551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1581299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269303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9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2" name="Google Shape;9222;p133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23" name="Google Shape;9223;p133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24" name="Google Shape;9224;p133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5" name="Google Shape;9225;p13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26" name="Google Shape;9226;p13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7" name="Google Shape;9227;p13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28" name="Google Shape;9228;p13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29" name="Google Shape;9229;p13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30" name="Google Shape;9230;p13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31" name="Google Shape;9231;p13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32" name="Google Shape;9232;p13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33" name="Google Shape;9233;p133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9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35" name="Google Shape;9235;p13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36" name="Google Shape;9236;p13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37" name="Google Shape;9237;p13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38" name="Google Shape;9238;p13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39" name="Google Shape;9239;p13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40" name="Google Shape;9240;p13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41" name="Google Shape;9241;p13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42" name="Google Shape;9242;p13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43" name="Google Shape;9243;p13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4" name="Google Shape;9244;p13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54315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9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6" name="Google Shape;9246;p13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47" name="Google Shape;9247;p13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248" name="Google Shape;9248;p13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49" name="Google Shape;9249;p13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50" name="Google Shape;9250;p13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51" name="Google Shape;9251;p13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52" name="Google Shape;9252;p13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53" name="Google Shape;9253;p13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54" name="Google Shape;9254;p13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55" name="Google Shape;9255;p13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56" name="Google Shape;9256;p13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562257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47501115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10814240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950097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9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58" name="Google Shape;9258;p13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59" name="Google Shape;9259;p13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60" name="Google Shape;9260;p13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61" name="Google Shape;9261;p13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62" name="Google Shape;9262;p13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63" name="Google Shape;9263;p13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64" name="Google Shape;9264;p133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265" name="Google Shape;9265;p133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66" name="Google Shape;9266;p133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267" name="Google Shape;9267;p133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68" name="Google Shape;9268;p13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69" name="Google Shape;9269;p13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70" name="Google Shape;9270;p13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967493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72" name="Google Shape;9272;p13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73" name="Google Shape;9273;p13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4" name="Google Shape;9274;p13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75" name="Google Shape;9275;p13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6" name="Google Shape;9276;p13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77" name="Google Shape;9277;p13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78" name="Google Shape;9278;p13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79" name="Google Shape;9279;p13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80" name="Google Shape;9280;p13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9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82" name="Google Shape;9282;p134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283" name="Google Shape;9283;p134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84" name="Google Shape;9284;p134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85" name="Google Shape;9285;p134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86" name="Google Shape;9286;p134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87" name="Google Shape;9287;p134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288" name="Google Shape;9288;p13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289" name="Google Shape;9289;p134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9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91" name="Google Shape;9291;p13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92" name="Google Shape;9292;p13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93" name="Google Shape;9293;p13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94" name="Google Shape;9294;p13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95" name="Google Shape;9295;p13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96" name="Google Shape;9296;p13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97" name="Google Shape;9297;p13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8" name="Google Shape;9298;p13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1/202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1/2026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80913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211920535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2160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9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00" name="Google Shape;9300;p13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01" name="Google Shape;9301;p13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02" name="Google Shape;9302;p13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03" name="Google Shape;9303;p13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04" name="Google Shape;9304;p13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05" name="Google Shape;9305;p13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06" name="Google Shape;9306;p13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07" name="Google Shape;9307;p13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08" name="Google Shape;9308;p13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09" name="Google Shape;9309;p13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10" name="Google Shape;9310;p13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11" name="Google Shape;9311;p13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4865264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3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8495529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2">
    <p:spTree>
      <p:nvGrpSpPr>
        <p:cNvPr id="1" name="Shape 9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3" name="Google Shape;9313;p134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14" name="Google Shape;9314;p134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15" name="Google Shape;9315;p134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316" name="Google Shape;9316;p134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317" name="Google Shape;9317;p134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318" name="Google Shape;9318;p134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19" name="Google Shape;9319;p134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320" name="Google Shape;9320;p13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 2">
    <p:spTree>
      <p:nvGrpSpPr>
        <p:cNvPr id="1" name="Shape 9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22" name="Google Shape;9322;p134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323" name="Google Shape;9323;p134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24" name="Google Shape;9324;p13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25" name="Google Shape;9325;p134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326" name="Google Shape;9326;p1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327" name="Google Shape;9327;p134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28" name="Google Shape;9328;p134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775156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2">
    <p:spTree>
      <p:nvGrpSpPr>
        <p:cNvPr id="1" name="Shape 9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30" name="Google Shape;9330;p134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331" name="Google Shape;9331;p134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332" name="Google Shape;9332;p134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333" name="Google Shape;9333;p134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34" name="Google Shape;9334;p134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35" name="Google Shape;9335;p134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36" name="Google Shape;9336;p13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812348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897104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5463371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156867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9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38" name="Google Shape;9338;p134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9" name="Google Shape;9339;p134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0" name="Google Shape;9340;p134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41" name="Google Shape;9341;p13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42" name="Google Shape;9342;p13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43" name="Google Shape;9343;p13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44" name="Google Shape;9344;p13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45" name="Google Shape;9345;p13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46" name="Google Shape;9346;p13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47" name="Google Shape;9347;p13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48" name="Google Shape;9348;p13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49" name="Google Shape;9349;p134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 2">
    <p:spTree>
      <p:nvGrpSpPr>
        <p:cNvPr id="1" name="Shape 9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51" name="Google Shape;9351;p13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52" name="Google Shape;9352;p13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53" name="Google Shape;9353;p13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54" name="Google Shape;9354;p13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55" name="Google Shape;9355;p13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56" name="Google Shape;9356;p13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57" name="Google Shape;9357;p13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8" name="Google Shape;9358;p13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59" name="Google Shape;9359;p13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60" name="Google Shape;9360;p13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75909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2">
    <p:spTree>
      <p:nvGrpSpPr>
        <p:cNvPr id="1" name="Shape 9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2" name="Google Shape;9362;p13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63" name="Google Shape;9363;p134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364" name="Google Shape;9364;p13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65" name="Google Shape;9365;p13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66" name="Google Shape;9366;p13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67" name="Google Shape;9367;p13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68" name="Google Shape;9368;p13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69" name="Google Shape;9369;p134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70" name="Google Shape;9370;p134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71" name="Google Shape;9371;p13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2" name="Google Shape;9372;p13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4147899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690880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679754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TWO_OBJECTS_WITH_TEXT 2">
    <p:spTree>
      <p:nvGrpSpPr>
        <p:cNvPr id="1" name="Shape 9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74" name="Google Shape;9374;p13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75" name="Google Shape;9375;p13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76" name="Google Shape;9376;p13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77" name="Google Shape;9377;p13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78" name="Google Shape;9378;p13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79" name="Google Shape;9379;p13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80" name="Google Shape;9380;p134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81" name="Google Shape;9381;p134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82" name="Google Shape;9382;p134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83" name="Google Shape;9383;p134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84" name="Google Shape;9384;p13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85" name="Google Shape;9385;p13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86" name="Google Shape;9386;p13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909357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67702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0386790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19601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_ONLY 2">
    <p:spTree>
      <p:nvGrpSpPr>
        <p:cNvPr id="1" name="Shape 9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88" name="Google Shape;9388;p13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89" name="Google Shape;9389;p1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90" name="Google Shape;9390;p13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91" name="Google Shape;9391;p1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92" name="Google Shape;9392;p1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93" name="Google Shape;9393;p13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94" name="Google Shape;9394;p13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95" name="Google Shape;9395;p1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96" name="Google Shape;9396;p1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9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98" name="Google Shape;9398;p135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99" name="Google Shape;9399;p135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00" name="Google Shape;9400;p135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401" name="Google Shape;9401;p135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02" name="Google Shape;9402;p135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03" name="Google Shape;9403;p135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404" name="Google Shape;9404;p13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405" name="Google Shape;9405;p13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704985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2415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9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07" name="Google Shape;9407;p13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08" name="Google Shape;9408;p1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09" name="Google Shape;9409;p1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10" name="Google Shape;9410;p13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11" name="Google Shape;9411;p1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12" name="Google Shape;9412;p13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3" name="Google Shape;9413;p1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14" name="Google Shape;9414;p1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23948447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446571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41943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553465556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221160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99534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785192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962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2">
    <p:spTree>
      <p:nvGrpSpPr>
        <p:cNvPr id="1" name="Shape 9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6" name="Google Shape;9416;p13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17" name="Google Shape;9417;p13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18" name="Google Shape;9418;p13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19" name="Google Shape;9419;p13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20" name="Google Shape;9420;p13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21" name="Google Shape;9421;p13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22" name="Google Shape;9422;p13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23" name="Google Shape;9423;p13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24" name="Google Shape;9424;p13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25" name="Google Shape;9425;p13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6" name="Google Shape;9426;p13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27" name="Google Shape;9427;p135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84350479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372086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759334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019576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1625666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179621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364080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959577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748739232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6844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9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9" name="Google Shape;9429;p135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30" name="Google Shape;9430;p135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31" name="Google Shape;9431;p135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432" name="Google Shape;9432;p13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433" name="Google Shape;9433;p135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434" name="Google Shape;9434;p135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5" name="Google Shape;9435;p135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436" name="Google Shape;9436;p13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6918051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78732897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434859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spTree>
      <p:nvGrpSpPr>
        <p:cNvPr id="1" name="Shape 9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38" name="Google Shape;9438;p135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439" name="Google Shape;9439;p135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40" name="Google Shape;9440;p13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41" name="Google Shape;9441;p135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442" name="Google Shape;9442;p13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443" name="Google Shape;9443;p135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44" name="Google Shape;9444;p135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9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6" name="Google Shape;9446;p135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447" name="Google Shape;9447;p135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448" name="Google Shape;9448;p135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449" name="Google Shape;9449;p135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50" name="Google Shape;9450;p135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451" name="Google Shape;9451;p135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452" name="Google Shape;9452;p13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815137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2">
    <p:spTree>
      <p:nvGrpSpPr>
        <p:cNvPr id="1" name="Shape 9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4" name="Google Shape;9454;p135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55" name="Google Shape;9455;p135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56" name="Google Shape;9456;p135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57" name="Google Shape;9457;p13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58" name="Google Shape;9458;p13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59" name="Google Shape;9459;p13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60" name="Google Shape;9460;p13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61" name="Google Shape;9461;p13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62" name="Google Shape;9462;p13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63" name="Google Shape;9463;p13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64" name="Google Shape;9464;p13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65" name="Google Shape;9465;p135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616475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1182145734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4564777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3">
    <p:spTree>
      <p:nvGrpSpPr>
        <p:cNvPr id="1" name="Shape 9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7" name="Google Shape;9467;p135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8" name="Google Shape;9468;p135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69" name="Google Shape;9469;p135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70" name="Google Shape;9470;p13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71" name="Google Shape;9471;p13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72" name="Google Shape;9472;p13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73" name="Google Shape;9473;p13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74" name="Google Shape;9474;p13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75" name="Google Shape;9475;p13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76" name="Google Shape;9476;p13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77" name="Google Shape;9477;p13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78" name="Google Shape;9478;p135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42843320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715114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1329005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2834609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57250957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813408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14765610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7719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9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80" name="Google Shape;9480;p13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81" name="Google Shape;9481;p13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482" name="Google Shape;9482;p13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83" name="Google Shape;9483;p13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84" name="Google Shape;9484;p13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85" name="Google Shape;9485;p13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86" name="Google Shape;9486;p13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87" name="Google Shape;9487;p135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8" name="Google Shape;9488;p135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89" name="Google Shape;9489;p13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90" name="Google Shape;9490;p13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47495863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632389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616943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870071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070216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7871037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9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92" name="Google Shape;9492;p13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93" name="Google Shape;9493;p13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94" name="Google Shape;9494;p13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95" name="Google Shape;9495;p13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96" name="Google Shape;9496;p13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97" name="Google Shape;9497;p13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8" name="Google Shape;9498;p136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99" name="Google Shape;9499;p136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0" name="Google Shape;9500;p136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501" name="Google Shape;9501;p136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2" name="Google Shape;9502;p13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03" name="Google Shape;9503;p13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4" name="Google Shape;9504;p13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9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06" name="Google Shape;9506;p13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07" name="Google Shape;9507;p13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08" name="Google Shape;9508;p13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09" name="Google Shape;9509;p13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10" name="Google Shape;9510;p13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11" name="Google Shape;9511;p13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12" name="Google Shape;9512;p13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13" name="Google Shape;9513;p13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14" name="Google Shape;9514;p13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386572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50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50" y="5400327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965319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2118371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76756576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442329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346009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50668196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231688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 2">
    <p:spTree>
      <p:nvGrpSpPr>
        <p:cNvPr id="1" name="Shape 9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16" name="Google Shape;9516;p136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517" name="Google Shape;9517;p136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18" name="Google Shape;9518;p136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519" name="Google Shape;9519;p136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20" name="Google Shape;9520;p136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21" name="Google Shape;9521;p136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522" name="Google Shape;9522;p13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523" name="Google Shape;9523;p13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17423040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80591628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029526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51884331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55340484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94061670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113352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8596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9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5" name="Google Shape;9525;p13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26" name="Google Shape;9526;p13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27" name="Google Shape;9527;p13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28" name="Google Shape;9528;p13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29" name="Google Shape;9529;p13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30" name="Google Shape;9530;p13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31" name="Google Shape;9531;p13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32" name="Google Shape;9532;p13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3" name="Google Shape;9533;p13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34" name="Google Shape;9534;p13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35" name="Google Shape;9535;p13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36" name="Google Shape;9536;p13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7886101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15876218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28500932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35308913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745608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72801827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003342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9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8" name="Google Shape;9538;p13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39" name="Google Shape;9539;p13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40" name="Google Shape;9540;p13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41" name="Google Shape;9541;p13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42" name="Google Shape;9542;p13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43" name="Google Shape;9543;p13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44" name="Google Shape;9544;p13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45" name="Google Shape;9545;p13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46" name="Google Shape;9546;p13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47" name="Google Shape;9547;p13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48" name="Google Shape;9548;p13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49" name="Google Shape;9549;p13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489293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0569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4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8" y="5564125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4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4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86281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26671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450066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9896346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752532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9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51" name="Google Shape;9551;p136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52" name="Google Shape;9552;p136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53" name="Google Shape;9553;p13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54" name="Google Shape;9554;p13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55" name="Google Shape;9555;p13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56" name="Google Shape;9556;p13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57" name="Google Shape;9557;p13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58" name="Google Shape;9558;p13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59" name="Google Shape;9559;p13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60" name="Google Shape;9560;p13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61" name="Google Shape;9561;p13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2" name="Google Shape;9562;p136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58297155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8041620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91492453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77916340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6039942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07805967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60080618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4769832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17854218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205787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9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64" name="Google Shape;9564;p13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65" name="Google Shape;9565;p13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66" name="Google Shape;9566;p13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67" name="Google Shape;9567;p13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68" name="Google Shape;9568;p13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9" name="Google Shape;9569;p13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70" name="Google Shape;9570;p13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71" name="Google Shape;9571;p13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72" name="Google Shape;9572;p13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73" name="Google Shape;9573;p13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74" name="Google Shape;9574;p13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75" name="Google Shape;9575;p13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_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10205196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74510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9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77" name="Google Shape;9577;p136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78" name="Google Shape;9578;p136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79" name="Google Shape;9579;p136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580" name="Google Shape;9580;p13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581" name="Google Shape;9581;p136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582" name="Google Shape;9582;p136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83" name="Google Shape;9583;p136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584" name="Google Shape;9584;p13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spTree>
      <p:nvGrpSpPr>
        <p:cNvPr id="1" name="Shape 9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86" name="Google Shape;9586;p136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587" name="Google Shape;9587;p13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88" name="Google Shape;9588;p13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89" name="Google Shape;9589;p13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590" name="Google Shape;9590;p13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91" name="Google Shape;9591;p136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92" name="Google Shape;9592;p136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71260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9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4" name="Google Shape;9594;p13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595" name="Google Shape;9595;p136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596" name="Google Shape;9596;p13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597" name="Google Shape;9597;p13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98" name="Google Shape;9598;p13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599" name="Google Shape;9599;p13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600" name="Google Shape;9600;p13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432267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61207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73984959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066305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13067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79664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9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02" name="Google Shape;9602;p13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03" name="Google Shape;9603;p13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4" name="Google Shape;9604;p13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05" name="Google Shape;9605;p13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06" name="Google Shape;9606;p13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07" name="Google Shape;9607;p13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08" name="Google Shape;9608;p13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09" name="Google Shape;9609;p13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10" name="Google Shape;9610;p13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11" name="Google Shape;9611;p13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12" name="Google Shape;9612;p13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613" name="Google Shape;9613;p13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94273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082500439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40823863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61129487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2">
    <p:spTree>
      <p:nvGrpSpPr>
        <p:cNvPr id="1" name="Shape 9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15" name="Google Shape;9615;p13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16" name="Google Shape;9616;p13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17" name="Google Shape;9617;p13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18" name="Google Shape;9618;p13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19" name="Google Shape;9619;p13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0" name="Google Shape;9620;p13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21" name="Google Shape;9621;p13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22" name="Google Shape;9622;p13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23" name="Google Shape;9623;p13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24" name="Google Shape;9624;p13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25" name="Google Shape;9625;p13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626" name="Google Shape;9626;p137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9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28" name="Google Shape;9628;p13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29" name="Google Shape;9629;p13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30" name="Google Shape;9630;p13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31" name="Google Shape;9631;p13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32" name="Google Shape;9632;p13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33" name="Google Shape;9633;p13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34" name="Google Shape;9634;p137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5" name="Google Shape;9635;p137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6" name="Google Shape;9636;p137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7" name="Google Shape;9637;p137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8" name="Google Shape;9638;p13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39" name="Google Shape;9639;p13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40" name="Google Shape;9640;p13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3042714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4" y="365130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4" y="1825630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8145964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7569120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425476626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4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7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3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818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1778307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9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2" name="Google Shape;9642;p13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43" name="Google Shape;9643;p13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44" name="Google Shape;9644;p13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45" name="Google Shape;9645;p13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46" name="Google Shape;9646;p13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47" name="Google Shape;9647;p13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48" name="Google Shape;9648;p13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49" name="Google Shape;9649;p13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50" name="Google Shape;9650;p13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6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88681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7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090606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612349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1684694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922304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9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2" name="Google Shape;9652;p13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53" name="Google Shape;9653;p13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54" name="Google Shape;9654;p13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55" name="Google Shape;9655;p13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56" name="Google Shape;9656;p13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57" name="Google Shape;9657;p13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58" name="Google Shape;9658;p13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59" name="Google Shape;9659;p13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46" lvl="0" indent="-22862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92" lvl="1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738" lvl="2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983" lvl="3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228" lvl="4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475" lvl="5" indent="-342934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720" lvl="6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966" lvl="7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212" lvl="8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4620676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83847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28" indent="-381028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747434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806858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001518914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8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794037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5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6" y="224842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6" y="917199"/>
            <a:ext cx="11715725" cy="4958671"/>
          </a:xfrm>
          <a:prstGeom prst="rect">
            <a:avLst/>
          </a:prstGeom>
        </p:spPr>
        <p:txBody>
          <a:bodyPr/>
          <a:lstStyle>
            <a:lvl1pPr marL="381028" indent="-381028">
              <a:buFont typeface="Wingdings" panose="05000000000000000000" pitchFamily="2" charset="2"/>
              <a:buChar char="§"/>
              <a:defRPr sz="1867" b="1"/>
            </a:lvl1pPr>
            <a:lvl2pPr marL="609646" indent="-296356">
              <a:buFont typeface="Arial" panose="020B0604020202020204" pitchFamily="34" charset="0"/>
              <a:buChar char="̶"/>
              <a:defRPr sz="1867"/>
            </a:lvl2pPr>
            <a:lvl3pPr marL="922936" indent="-313291">
              <a:buFont typeface="Arial" panose="020B0604020202020204" pitchFamily="34" charset="0"/>
              <a:buChar char="•"/>
              <a:defRPr sz="1867"/>
            </a:lvl3pPr>
            <a:lvl4pPr marL="1219292" indent="-296356">
              <a:buFont typeface="Wingdings" panose="05000000000000000000" pitchFamily="2" charset="2"/>
              <a:buChar char="ü"/>
              <a:defRPr sz="1867"/>
            </a:lvl4pPr>
            <a:lvl5pPr marL="1532582" indent="-313291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9" y="5969003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3" y="5969002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5090457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7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9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22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4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7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9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1/202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06503221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3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56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46" indent="0">
              <a:buNone/>
              <a:defRPr sz="1200"/>
            </a:lvl2pPr>
            <a:lvl3pPr marL="914492" indent="0">
              <a:buNone/>
              <a:defRPr sz="1000"/>
            </a:lvl3pPr>
            <a:lvl4pPr marL="1371738" indent="0">
              <a:buNone/>
              <a:defRPr sz="900"/>
            </a:lvl4pPr>
            <a:lvl5pPr marL="1828983" indent="0">
              <a:buNone/>
              <a:defRPr sz="900"/>
            </a:lvl5pPr>
            <a:lvl6pPr marL="2286228" indent="0">
              <a:buNone/>
              <a:defRPr sz="900"/>
            </a:lvl6pPr>
            <a:lvl7pPr marL="2743475" indent="0">
              <a:buNone/>
              <a:defRPr sz="900"/>
            </a:lvl7pPr>
            <a:lvl8pPr marL="3200720" indent="0">
              <a:buNone/>
              <a:defRPr sz="900"/>
            </a:lvl8pPr>
            <a:lvl9pPr marL="365796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1/2026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09164878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9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9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3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16874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spTree>
      <p:nvGrpSpPr>
        <p:cNvPr id="1" name="Shape 9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61" name="Google Shape;9661;p13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62" name="Google Shape;9662;p13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63" name="Google Shape;9663;p13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64" name="Google Shape;9664;p13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65" name="Google Shape;9665;p1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666" name="Google Shape;9666;p13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67" name="Google Shape;9667;p13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46" lvl="0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92" lvl="1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738" lvl="2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983" lvl="3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228" lvl="4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475" lvl="5" indent="-342934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720" lvl="6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966" lvl="7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212" lvl="8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36408404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46" lvl="0" indent="-22862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92" lvl="1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738" lvl="2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983" lvl="3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228" lvl="4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475" lvl="5" indent="-342934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720" lvl="6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966" lvl="7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212" lvl="8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41727510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46" lvl="0" indent="-22862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92" lvl="1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738" lvl="2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983" lvl="3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228" lvl="4" indent="-34293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475" lvl="5" indent="-342934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720" lvl="6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966" lvl="7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212" lvl="8" indent="-34293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18744271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9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9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3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48066497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9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9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3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84676510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824266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177511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09929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3096970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590594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9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9" name="Google Shape;9669;p13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670" name="Google Shape;9670;p13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671" name="Google Shape;9671;p13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672" name="Google Shape;9672;p13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73" name="Google Shape;9673;p13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674" name="Google Shape;9674;p13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675" name="Google Shape;9675;p13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172700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94739674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84660906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87174291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96122497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2810025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01523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9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77" name="Google Shape;9677;p13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78" name="Google Shape;9678;p13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9" name="Google Shape;9679;p13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80" name="Google Shape;9680;p13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81" name="Google Shape;9681;p13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82" name="Google Shape;9682;p13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83" name="Google Shape;9683;p13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84" name="Google Shape;9684;p13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85" name="Google Shape;9685;p13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86" name="Google Shape;9686;p13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87" name="Google Shape;9687;p13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688" name="Google Shape;9688;p13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9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90" name="Google Shape;9690;p13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91" name="Google Shape;9691;p13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92" name="Google Shape;9692;p13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93" name="Google Shape;9693;p13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94" name="Google Shape;9694;p13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95" name="Google Shape;9695;p13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96" name="Google Shape;9696;p13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97" name="Google Shape;9697;p13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98" name="Google Shape;9698;p13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99" name="Google Shape;9699;p13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00" name="Google Shape;9700;p13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701" name="Google Shape;9701;p13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9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3" name="Google Shape;9703;p13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04" name="Google Shape;9704;p13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705" name="Google Shape;9705;p13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06" name="Google Shape;9706;p13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07" name="Google Shape;9707;p13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08" name="Google Shape;9708;p13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09" name="Google Shape;9709;p13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10" name="Google Shape;9710;p137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11" name="Google Shape;9711;p137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12" name="Google Shape;9712;p13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13" name="Google Shape;9713;p13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1633357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59482181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9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15" name="Google Shape;9715;p13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16" name="Google Shape;9716;p13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17" name="Google Shape;9717;p13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18" name="Google Shape;9718;p13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19" name="Google Shape;9719;p13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20" name="Google Shape;9720;p13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1" name="Google Shape;9721;p138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22" name="Google Shape;9722;p138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23" name="Google Shape;9723;p138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24" name="Google Shape;9724;p138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25" name="Google Shape;9725;p13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26" name="Google Shape;9726;p13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27" name="Google Shape;9727;p13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8"/>
          <p:cNvSpPr txBox="1">
            <a:spLocks noGrp="1"/>
          </p:cNvSpPr>
          <p:nvPr>
            <p:ph type="ctrTitle"/>
          </p:nvPr>
        </p:nvSpPr>
        <p:spPr>
          <a:xfrm>
            <a:off x="978852" y="1867788"/>
            <a:ext cx="8634095" cy="1128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8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38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38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38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683776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2170636119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4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3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94693314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9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29" name="Google Shape;9729;p13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30" name="Google Shape;9730;p13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31" name="Google Shape;9731;p13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32" name="Google Shape;9732;p13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33" name="Google Shape;9733;p13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34" name="Google Shape;9734;p13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5" name="Google Shape;9735;p13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36" name="Google Shape;9736;p13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37" name="Google Shape;9737;p13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71774656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66662649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6582923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4_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47856362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1" y="533970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17" indent="0">
              <a:buNone/>
              <a:defRPr b="1">
                <a:solidFill>
                  <a:srgbClr val="8C2347"/>
                </a:solidFill>
              </a:defRPr>
            </a:lvl2pPr>
            <a:lvl3pPr marL="685834" indent="0">
              <a:buNone/>
              <a:defRPr b="1">
                <a:solidFill>
                  <a:srgbClr val="8C2347"/>
                </a:solidFill>
              </a:defRPr>
            </a:lvl3pPr>
            <a:lvl4pPr marL="1028751" indent="0">
              <a:buNone/>
              <a:defRPr b="1">
                <a:solidFill>
                  <a:srgbClr val="8C2347"/>
                </a:solidFill>
              </a:defRPr>
            </a:lvl4pPr>
            <a:lvl5pPr marL="1371669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9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8" y="317116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288084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8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23" indent="0">
              <a:buNone/>
              <a:defRPr b="1">
                <a:solidFill>
                  <a:srgbClr val="8C2347"/>
                </a:solidFill>
              </a:defRPr>
            </a:lvl2pPr>
            <a:lvl3pPr marL="914446" indent="0">
              <a:buNone/>
              <a:defRPr b="1">
                <a:solidFill>
                  <a:srgbClr val="8C2347"/>
                </a:solidFill>
              </a:defRPr>
            </a:lvl3pPr>
            <a:lvl4pPr marL="1371669" indent="0">
              <a:buNone/>
              <a:defRPr b="1">
                <a:solidFill>
                  <a:srgbClr val="8C2347"/>
                </a:solidFill>
              </a:defRPr>
            </a:lvl4pPr>
            <a:lvl5pPr marL="1828891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23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46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69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91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29536207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oogle Shape;25;p5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5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58929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1"/>
          </p:nvPr>
        </p:nvSpPr>
        <p:spPr>
          <a:xfrm>
            <a:off x="1499833" y="3749033"/>
            <a:ext cx="4070400" cy="138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24245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5"/>
          <p:cNvSpPr txBox="1">
            <a:spLocks noGrp="1"/>
          </p:cNvSpPr>
          <p:nvPr>
            <p:ph type="subTitle" idx="2"/>
          </p:nvPr>
        </p:nvSpPr>
        <p:spPr>
          <a:xfrm>
            <a:off x="6615885" y="3749033"/>
            <a:ext cx="4070400" cy="138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24245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>
                <a:solidFill>
                  <a:srgbClr val="424245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title" idx="3"/>
          </p:nvPr>
        </p:nvSpPr>
        <p:spPr>
          <a:xfrm>
            <a:off x="1499033" y="3045433"/>
            <a:ext cx="4072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>
                <a:solidFill>
                  <a:srgbClr val="424245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title" idx="4"/>
          </p:nvPr>
        </p:nvSpPr>
        <p:spPr>
          <a:xfrm>
            <a:off x="6615085" y="3045433"/>
            <a:ext cx="4072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>
                <a:solidFill>
                  <a:srgbClr val="424245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09888248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55024546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166915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482744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9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39" name="Google Shape;9739;p13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740" name="Google Shape;9740;p13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41" name="Google Shape;9741;p13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742" name="Google Shape;9742;p13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43" name="Google Shape;9743;p13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44" name="Google Shape;9744;p13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45" name="Google Shape;9745;p13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46" name="Google Shape;9746;p13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1926781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43642765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71823159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4052469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75377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313966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8660360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2">
    <p:spTree>
      <p:nvGrpSpPr>
        <p:cNvPr id="1" name="Shape 9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48" name="Google Shape;9748;p13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9" name="Google Shape;9749;p13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0" name="Google Shape;9750;p1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51" name="Google Shape;9751;p13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52" name="Google Shape;9752;p1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53" name="Google Shape;9753;p13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54" name="Google Shape;9754;p13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55" name="Google Shape;9755;p13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997514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93833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85487690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29449287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92558747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93254546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093688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63870315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97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7" name="Google Shape;9757;p138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58" name="Google Shape;9758;p138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9759" name="Google Shape;9759;p138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9760" name="Google Shape;9760;p138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61" name="Google Shape;9761;p138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9762" name="Google Shape;9762;p138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628593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41826341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023325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2200280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4034351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40823378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684313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511519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725392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 2">
    <p:spTree>
      <p:nvGrpSpPr>
        <p:cNvPr id="1" name="Shape 97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4" name="Google Shape;9764;p138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65" name="Google Shape;9765;p138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66" name="Google Shape;9766;p138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767" name="Google Shape;9767;p13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768" name="Google Shape;9768;p138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769" name="Google Shape;9769;p138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70" name="Google Shape;9770;p138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71" name="Google Shape;9771;p13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06867007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74334405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23218296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247384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92098669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00165954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7677840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5493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 2">
    <p:spTree>
      <p:nvGrpSpPr>
        <p:cNvPr id="1" name="Shape 9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73" name="Google Shape;9773;p138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774" name="Google Shape;9774;p138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75" name="Google Shape;9775;p13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76" name="Google Shape;9776;p138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77" name="Google Shape;9777;p13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78" name="Google Shape;9778;p138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79" name="Google Shape;9779;p138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516239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17619888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14672413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69727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970312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0811547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 2">
    <p:spTree>
      <p:nvGrpSpPr>
        <p:cNvPr id="1" name="Shape 9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1" name="Google Shape;9781;p138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782" name="Google Shape;9782;p138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783" name="Google Shape;9783;p138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784" name="Google Shape;9784;p138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85" name="Google Shape;9785;p138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786" name="Google Shape;9786;p138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787" name="Google Shape;9787;p13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72126520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70937096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39892384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021919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20760937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66793281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16348799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298070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043975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9885414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 2">
    <p:spTree>
      <p:nvGrpSpPr>
        <p:cNvPr id="1" name="Shape 9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9" name="Google Shape;9789;p138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90" name="Google Shape;9790;p138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91" name="Google Shape;9791;p138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92" name="Google Shape;9792;p13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93" name="Google Shape;9793;p13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94" name="Google Shape;9794;p13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95" name="Google Shape;9795;p13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96" name="Google Shape;9796;p13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97" name="Google Shape;9797;p13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98" name="Google Shape;9798;p13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99" name="Google Shape;9799;p13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00" name="Google Shape;9800;p138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30615023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59498796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08699027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657070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84523679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4924865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12568154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0294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 2">
    <p:spTree>
      <p:nvGrpSpPr>
        <p:cNvPr id="1" name="Shape 9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2" name="Google Shape;9802;p13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03" name="Google Shape;9803;p13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04" name="Google Shape;9804;p13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05" name="Google Shape;9805;p13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06" name="Google Shape;9806;p13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07" name="Google Shape;9807;p13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08" name="Google Shape;9808;p13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09" name="Google Shape;9809;p13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10" name="Google Shape;9810;p13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11" name="Google Shape;9811;p13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12" name="Google Shape;9812;p13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13" name="Google Shape;9813;p13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825502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45424628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5212084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86919917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0172638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055613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422097"/>
      </p:ext>
    </p:extLst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8186423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478154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 2">
    <p:spTree>
      <p:nvGrpSpPr>
        <p:cNvPr id="1" name="Shape 9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5" name="Google Shape;9815;p13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16" name="Google Shape;9816;p139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817" name="Google Shape;9817;p13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18" name="Google Shape;9818;p13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19" name="Google Shape;9819;p13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20" name="Google Shape;9820;p13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21" name="Google Shape;9821;p13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22" name="Google Shape;9822;p139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23" name="Google Shape;9823;p139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24" name="Google Shape;9824;p13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25" name="Google Shape;9825;p13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82901995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658575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11013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008366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21361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9555195"/>
      </p:ext>
    </p:extLst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1522953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668804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862111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79496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 2">
    <p:spTree>
      <p:nvGrpSpPr>
        <p:cNvPr id="1" name="Shape 9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27" name="Google Shape;9827;p13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28" name="Google Shape;9828;p13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29" name="Google Shape;9829;p13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30" name="Google Shape;9830;p13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31" name="Google Shape;9831;p13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32" name="Google Shape;9832;p13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33" name="Google Shape;9833;p139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34" name="Google Shape;9834;p139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35" name="Google Shape;9835;p139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36" name="Google Shape;9836;p139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37" name="Google Shape;9837;p13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38" name="Google Shape;9838;p13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39" name="Google Shape;9839;p13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6907520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774728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27363329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532752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59463894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2727692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86647170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791542"/>
      </p:ext>
    </p:extLst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632276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432477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 2">
    <p:spTree>
      <p:nvGrpSpPr>
        <p:cNvPr id="1" name="Shape 9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41" name="Google Shape;9841;p13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42" name="Google Shape;9842;p13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43" name="Google Shape;9843;p13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44" name="Google Shape;9844;p13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45" name="Google Shape;9845;p13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46" name="Google Shape;9846;p13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47" name="Google Shape;9847;p13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48" name="Google Shape;9848;p13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49" name="Google Shape;9849;p13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47643842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663494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745828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366471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1402641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759501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499239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858337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2">
    <p:spTree>
      <p:nvGrpSpPr>
        <p:cNvPr id="1" name="Shape 9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51" name="Google Shape;9851;p139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852" name="Google Shape;9852;p139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53" name="Google Shape;9853;p139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854" name="Google Shape;9854;p139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55" name="Google Shape;9855;p139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6" name="Google Shape;9856;p139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857" name="Google Shape;9857;p13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858" name="Google Shape;9858;p139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33871924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7385039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80992828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44716667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61248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4758686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606337"/>
      </p:ext>
    </p:extLst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59524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8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8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22250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3">
    <p:spTree>
      <p:nvGrpSpPr>
        <p:cNvPr id="1" name="Shape 98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0" name="Google Shape;9860;p13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61" name="Google Shape;9861;p13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62" name="Google Shape;9862;p13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63" name="Google Shape;9863;p13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64" name="Google Shape;9864;p13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65" name="Google Shape;9865;p13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66" name="Google Shape;9866;p13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67" name="Google Shape;9867;p13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97214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64978274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419744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6416521"/>
      </p:ext>
    </p:extLst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87677943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67292683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54082241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692169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72812485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00802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spTree>
      <p:nvGrpSpPr>
        <p:cNvPr id="1" name="Shape 9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69" name="Google Shape;9869;p13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870" name="Google Shape;9870;p13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71" name="Google Shape;9871;p13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72" name="Google Shape;9872;p13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873" name="Google Shape;9873;p13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874" name="Google Shape;9874;p13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75" name="Google Shape;9875;p13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3792943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92572"/>
      </p:ext>
    </p:extLst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716721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5037749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6002367"/>
      </p:ext>
    </p:extLst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9855488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1826003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499530"/>
      </p:ext>
    </p:extLst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410609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5616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9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77" name="Google Shape;9877;p139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878" name="Google Shape;9878;p139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879" name="Google Shape;9879;p139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880" name="Google Shape;9880;p139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81" name="Google Shape;9881;p139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882" name="Google Shape;9882;p139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83" name="Google Shape;9883;p13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8472175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2352684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50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13997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86729129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96959352"/>
      </p:ext>
    </p:extLst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46" indent="0">
              <a:buNone/>
              <a:defRPr sz="2000" b="1"/>
            </a:lvl2pPr>
            <a:lvl3pPr marL="914492" indent="0">
              <a:buNone/>
              <a:defRPr sz="1800" b="1"/>
            </a:lvl3pPr>
            <a:lvl4pPr marL="1371738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8" indent="0">
              <a:buNone/>
              <a:defRPr sz="1600" b="1"/>
            </a:lvl6pPr>
            <a:lvl7pPr marL="2743475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35360586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62799892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2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70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229732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8890993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1310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9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85" name="Google Shape;9885;p13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86" name="Google Shape;9886;p13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7" name="Google Shape;9887;p13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88" name="Google Shape;9888;p13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889" name="Google Shape;9889;p13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890" name="Google Shape;9890;p13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91" name="Google Shape;9891;p13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892" name="Google Shape;9892;p13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83847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28" indent="-381028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858809"/>
      </p:ext>
    </p:extLst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806858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626356215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8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750138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83847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28" indent="-381028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617932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8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698555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83847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28" indent="-381028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886261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806858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106309508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8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463437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83847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28" indent="-381028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693866"/>
      </p:ext>
    </p:extLst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806858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68133174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9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94" name="Google Shape;9894;p13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95" name="Google Shape;9895;p13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96" name="Google Shape;9896;p13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97" name="Google Shape;9897;p13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98" name="Google Shape;9898;p13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99" name="Google Shape;9899;p13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0" name="Google Shape;9900;p13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01" name="Google Shape;9901;p13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02" name="Google Shape;9902;p13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03" name="Google Shape;9903;p13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8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288911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83847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28" indent="-381028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588045"/>
      </p:ext>
    </p:extLst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806858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156592845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8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871589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83847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28" indent="-381028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675636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806858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024495226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8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863620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83847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28" indent="-381028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24555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8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470202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6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806858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0904749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38.xml"/><Relationship Id="rId63" Type="http://schemas.openxmlformats.org/officeDocument/2006/relationships/slideLayout" Target="../slideLayouts/slideLayout80.xml"/><Relationship Id="rId159" Type="http://schemas.openxmlformats.org/officeDocument/2006/relationships/slideLayout" Target="../slideLayouts/slideLayout176.xml"/><Relationship Id="rId170" Type="http://schemas.openxmlformats.org/officeDocument/2006/relationships/slideLayout" Target="../slideLayouts/slideLayout187.xml"/><Relationship Id="rId226" Type="http://schemas.openxmlformats.org/officeDocument/2006/relationships/slideLayout" Target="../slideLayouts/slideLayout243.xml"/><Relationship Id="rId268" Type="http://schemas.openxmlformats.org/officeDocument/2006/relationships/slideLayout" Target="../slideLayouts/slideLayout285.xml"/><Relationship Id="rId32" Type="http://schemas.openxmlformats.org/officeDocument/2006/relationships/slideLayout" Target="../slideLayouts/slideLayout49.xml"/><Relationship Id="rId74" Type="http://schemas.openxmlformats.org/officeDocument/2006/relationships/slideLayout" Target="../slideLayouts/slideLayout91.xml"/><Relationship Id="rId128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22.xml"/><Relationship Id="rId181" Type="http://schemas.openxmlformats.org/officeDocument/2006/relationships/slideLayout" Target="../slideLayouts/slideLayout198.xml"/><Relationship Id="rId237" Type="http://schemas.openxmlformats.org/officeDocument/2006/relationships/slideLayout" Target="../slideLayouts/slideLayout254.xml"/><Relationship Id="rId279" Type="http://schemas.openxmlformats.org/officeDocument/2006/relationships/slideLayout" Target="../slideLayouts/slideLayout296.xml"/><Relationship Id="rId43" Type="http://schemas.openxmlformats.org/officeDocument/2006/relationships/slideLayout" Target="../slideLayouts/slideLayout60.xml"/><Relationship Id="rId139" Type="http://schemas.openxmlformats.org/officeDocument/2006/relationships/slideLayout" Target="../slideLayouts/slideLayout156.xml"/><Relationship Id="rId85" Type="http://schemas.openxmlformats.org/officeDocument/2006/relationships/slideLayout" Target="../slideLayouts/slideLayout102.xml"/><Relationship Id="rId150" Type="http://schemas.openxmlformats.org/officeDocument/2006/relationships/slideLayout" Target="../slideLayouts/slideLayout167.xml"/><Relationship Id="rId171" Type="http://schemas.openxmlformats.org/officeDocument/2006/relationships/slideLayout" Target="../slideLayouts/slideLayout188.xml"/><Relationship Id="rId192" Type="http://schemas.openxmlformats.org/officeDocument/2006/relationships/slideLayout" Target="../slideLayouts/slideLayout209.xml"/><Relationship Id="rId206" Type="http://schemas.openxmlformats.org/officeDocument/2006/relationships/slideLayout" Target="../slideLayouts/slideLayout223.xml"/><Relationship Id="rId227" Type="http://schemas.openxmlformats.org/officeDocument/2006/relationships/slideLayout" Target="../slideLayouts/slideLayout244.xml"/><Relationship Id="rId248" Type="http://schemas.openxmlformats.org/officeDocument/2006/relationships/slideLayout" Target="../slideLayouts/slideLayout265.xml"/><Relationship Id="rId269" Type="http://schemas.openxmlformats.org/officeDocument/2006/relationships/slideLayout" Target="../slideLayouts/slideLayout286.xml"/><Relationship Id="rId12" Type="http://schemas.openxmlformats.org/officeDocument/2006/relationships/slideLayout" Target="../slideLayouts/slideLayout29.xml"/><Relationship Id="rId33" Type="http://schemas.openxmlformats.org/officeDocument/2006/relationships/slideLayout" Target="../slideLayouts/slideLayout50.xml"/><Relationship Id="rId108" Type="http://schemas.openxmlformats.org/officeDocument/2006/relationships/slideLayout" Target="../slideLayouts/slideLayout125.xml"/><Relationship Id="rId129" Type="http://schemas.openxmlformats.org/officeDocument/2006/relationships/slideLayout" Target="../slideLayouts/slideLayout146.xml"/><Relationship Id="rId280" Type="http://schemas.openxmlformats.org/officeDocument/2006/relationships/slideLayout" Target="../slideLayouts/slideLayout297.xml"/><Relationship Id="rId54" Type="http://schemas.openxmlformats.org/officeDocument/2006/relationships/slideLayout" Target="../slideLayouts/slideLayout71.xml"/><Relationship Id="rId75" Type="http://schemas.openxmlformats.org/officeDocument/2006/relationships/slideLayout" Target="../slideLayouts/slideLayout92.xml"/><Relationship Id="rId96" Type="http://schemas.openxmlformats.org/officeDocument/2006/relationships/slideLayout" Target="../slideLayouts/slideLayout113.xml"/><Relationship Id="rId140" Type="http://schemas.openxmlformats.org/officeDocument/2006/relationships/slideLayout" Target="../slideLayouts/slideLayout157.xml"/><Relationship Id="rId161" Type="http://schemas.openxmlformats.org/officeDocument/2006/relationships/slideLayout" Target="../slideLayouts/slideLayout178.xml"/><Relationship Id="rId182" Type="http://schemas.openxmlformats.org/officeDocument/2006/relationships/slideLayout" Target="../slideLayouts/slideLayout199.xml"/><Relationship Id="rId217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.xml"/><Relationship Id="rId238" Type="http://schemas.openxmlformats.org/officeDocument/2006/relationships/slideLayout" Target="../slideLayouts/slideLayout255.xml"/><Relationship Id="rId259" Type="http://schemas.openxmlformats.org/officeDocument/2006/relationships/slideLayout" Target="../slideLayouts/slideLayout276.xml"/><Relationship Id="rId23" Type="http://schemas.openxmlformats.org/officeDocument/2006/relationships/slideLayout" Target="../slideLayouts/slideLayout40.xml"/><Relationship Id="rId119" Type="http://schemas.openxmlformats.org/officeDocument/2006/relationships/slideLayout" Target="../slideLayouts/slideLayout136.xml"/><Relationship Id="rId270" Type="http://schemas.openxmlformats.org/officeDocument/2006/relationships/slideLayout" Target="../slideLayouts/slideLayout287.xml"/><Relationship Id="rId44" Type="http://schemas.openxmlformats.org/officeDocument/2006/relationships/slideLayout" Target="../slideLayouts/slideLayout61.xml"/><Relationship Id="rId65" Type="http://schemas.openxmlformats.org/officeDocument/2006/relationships/slideLayout" Target="../slideLayouts/slideLayout82.xml"/><Relationship Id="rId86" Type="http://schemas.openxmlformats.org/officeDocument/2006/relationships/slideLayout" Target="../slideLayouts/slideLayout103.xml"/><Relationship Id="rId130" Type="http://schemas.openxmlformats.org/officeDocument/2006/relationships/slideLayout" Target="../slideLayouts/slideLayout147.xml"/><Relationship Id="rId151" Type="http://schemas.openxmlformats.org/officeDocument/2006/relationships/slideLayout" Target="../slideLayouts/slideLayout168.xml"/><Relationship Id="rId172" Type="http://schemas.openxmlformats.org/officeDocument/2006/relationships/slideLayout" Target="../slideLayouts/slideLayout189.xml"/><Relationship Id="rId193" Type="http://schemas.openxmlformats.org/officeDocument/2006/relationships/slideLayout" Target="../slideLayouts/slideLayout210.xml"/><Relationship Id="rId207" Type="http://schemas.openxmlformats.org/officeDocument/2006/relationships/slideLayout" Target="../slideLayouts/slideLayout224.xml"/><Relationship Id="rId228" Type="http://schemas.openxmlformats.org/officeDocument/2006/relationships/slideLayout" Target="../slideLayouts/slideLayout245.xml"/><Relationship Id="rId249" Type="http://schemas.openxmlformats.org/officeDocument/2006/relationships/slideLayout" Target="../slideLayouts/slideLayout266.xml"/><Relationship Id="rId13" Type="http://schemas.openxmlformats.org/officeDocument/2006/relationships/slideLayout" Target="../slideLayouts/slideLayout30.xml"/><Relationship Id="rId109" Type="http://schemas.openxmlformats.org/officeDocument/2006/relationships/slideLayout" Target="../slideLayouts/slideLayout126.xml"/><Relationship Id="rId260" Type="http://schemas.openxmlformats.org/officeDocument/2006/relationships/slideLayout" Target="../slideLayouts/slideLayout277.xml"/><Relationship Id="rId281" Type="http://schemas.openxmlformats.org/officeDocument/2006/relationships/slideLayout" Target="../slideLayouts/slideLayout298.xml"/><Relationship Id="rId34" Type="http://schemas.openxmlformats.org/officeDocument/2006/relationships/slideLayout" Target="../slideLayouts/slideLayout51.xml"/><Relationship Id="rId55" Type="http://schemas.openxmlformats.org/officeDocument/2006/relationships/slideLayout" Target="../slideLayouts/slideLayout72.xml"/><Relationship Id="rId76" Type="http://schemas.openxmlformats.org/officeDocument/2006/relationships/slideLayout" Target="../slideLayouts/slideLayout93.xml"/><Relationship Id="rId97" Type="http://schemas.openxmlformats.org/officeDocument/2006/relationships/slideLayout" Target="../slideLayouts/slideLayout114.xml"/><Relationship Id="rId120" Type="http://schemas.openxmlformats.org/officeDocument/2006/relationships/slideLayout" Target="../slideLayouts/slideLayout137.xml"/><Relationship Id="rId141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24.xml"/><Relationship Id="rId162" Type="http://schemas.openxmlformats.org/officeDocument/2006/relationships/slideLayout" Target="../slideLayouts/slideLayout179.xml"/><Relationship Id="rId183" Type="http://schemas.openxmlformats.org/officeDocument/2006/relationships/slideLayout" Target="../slideLayouts/slideLayout200.xml"/><Relationship Id="rId218" Type="http://schemas.openxmlformats.org/officeDocument/2006/relationships/slideLayout" Target="../slideLayouts/slideLayout235.xml"/><Relationship Id="rId239" Type="http://schemas.openxmlformats.org/officeDocument/2006/relationships/slideLayout" Target="../slideLayouts/slideLayout256.xml"/><Relationship Id="rId250" Type="http://schemas.openxmlformats.org/officeDocument/2006/relationships/slideLayout" Target="../slideLayouts/slideLayout267.xml"/><Relationship Id="rId271" Type="http://schemas.openxmlformats.org/officeDocument/2006/relationships/slideLayout" Target="../slideLayouts/slideLayout288.xml"/><Relationship Id="rId24" Type="http://schemas.openxmlformats.org/officeDocument/2006/relationships/slideLayout" Target="../slideLayouts/slideLayout41.xml"/><Relationship Id="rId45" Type="http://schemas.openxmlformats.org/officeDocument/2006/relationships/slideLayout" Target="../slideLayouts/slideLayout62.xml"/><Relationship Id="rId66" Type="http://schemas.openxmlformats.org/officeDocument/2006/relationships/slideLayout" Target="../slideLayouts/slideLayout83.xml"/><Relationship Id="rId87" Type="http://schemas.openxmlformats.org/officeDocument/2006/relationships/slideLayout" Target="../slideLayouts/slideLayout104.xml"/><Relationship Id="rId110" Type="http://schemas.openxmlformats.org/officeDocument/2006/relationships/slideLayout" Target="../slideLayouts/slideLayout127.xml"/><Relationship Id="rId131" Type="http://schemas.openxmlformats.org/officeDocument/2006/relationships/slideLayout" Target="../slideLayouts/slideLayout148.xml"/><Relationship Id="rId152" Type="http://schemas.openxmlformats.org/officeDocument/2006/relationships/slideLayout" Target="../slideLayouts/slideLayout169.xml"/><Relationship Id="rId173" Type="http://schemas.openxmlformats.org/officeDocument/2006/relationships/slideLayout" Target="../slideLayouts/slideLayout190.xml"/><Relationship Id="rId194" Type="http://schemas.openxmlformats.org/officeDocument/2006/relationships/slideLayout" Target="../slideLayouts/slideLayout211.xml"/><Relationship Id="rId208" Type="http://schemas.openxmlformats.org/officeDocument/2006/relationships/slideLayout" Target="../slideLayouts/slideLayout225.xml"/><Relationship Id="rId229" Type="http://schemas.openxmlformats.org/officeDocument/2006/relationships/slideLayout" Target="../slideLayouts/slideLayout246.xml"/><Relationship Id="rId240" Type="http://schemas.openxmlformats.org/officeDocument/2006/relationships/slideLayout" Target="../slideLayouts/slideLayout257.xml"/><Relationship Id="rId261" Type="http://schemas.openxmlformats.org/officeDocument/2006/relationships/slideLayout" Target="../slideLayouts/slideLayout278.xml"/><Relationship Id="rId14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52.xml"/><Relationship Id="rId56" Type="http://schemas.openxmlformats.org/officeDocument/2006/relationships/slideLayout" Target="../slideLayouts/slideLayout73.xml"/><Relationship Id="rId77" Type="http://schemas.openxmlformats.org/officeDocument/2006/relationships/slideLayout" Target="../slideLayouts/slideLayout94.xml"/><Relationship Id="rId100" Type="http://schemas.openxmlformats.org/officeDocument/2006/relationships/slideLayout" Target="../slideLayouts/slideLayout117.xml"/><Relationship Id="rId282" Type="http://schemas.openxmlformats.org/officeDocument/2006/relationships/slideLayout" Target="../slideLayouts/slideLayout299.xml"/><Relationship Id="rId8" Type="http://schemas.openxmlformats.org/officeDocument/2006/relationships/slideLayout" Target="../slideLayouts/slideLayout25.xml"/><Relationship Id="rId98" Type="http://schemas.openxmlformats.org/officeDocument/2006/relationships/slideLayout" Target="../slideLayouts/slideLayout115.xml"/><Relationship Id="rId121" Type="http://schemas.openxmlformats.org/officeDocument/2006/relationships/slideLayout" Target="../slideLayouts/slideLayout138.xml"/><Relationship Id="rId142" Type="http://schemas.openxmlformats.org/officeDocument/2006/relationships/slideLayout" Target="../slideLayouts/slideLayout159.xml"/><Relationship Id="rId163" Type="http://schemas.openxmlformats.org/officeDocument/2006/relationships/slideLayout" Target="../slideLayouts/slideLayout180.xml"/><Relationship Id="rId184" Type="http://schemas.openxmlformats.org/officeDocument/2006/relationships/slideLayout" Target="../slideLayouts/slideLayout201.xml"/><Relationship Id="rId219" Type="http://schemas.openxmlformats.org/officeDocument/2006/relationships/slideLayout" Target="../slideLayouts/slideLayout236.xml"/><Relationship Id="rId230" Type="http://schemas.openxmlformats.org/officeDocument/2006/relationships/slideLayout" Target="../slideLayouts/slideLayout247.xml"/><Relationship Id="rId251" Type="http://schemas.openxmlformats.org/officeDocument/2006/relationships/slideLayout" Target="../slideLayouts/slideLayout268.xml"/><Relationship Id="rId25" Type="http://schemas.openxmlformats.org/officeDocument/2006/relationships/slideLayout" Target="../slideLayouts/slideLayout42.xml"/><Relationship Id="rId46" Type="http://schemas.openxmlformats.org/officeDocument/2006/relationships/slideLayout" Target="../slideLayouts/slideLayout63.xml"/><Relationship Id="rId67" Type="http://schemas.openxmlformats.org/officeDocument/2006/relationships/slideLayout" Target="../slideLayouts/slideLayout84.xml"/><Relationship Id="rId272" Type="http://schemas.openxmlformats.org/officeDocument/2006/relationships/slideLayout" Target="../slideLayouts/slideLayout289.xml"/><Relationship Id="rId88" Type="http://schemas.openxmlformats.org/officeDocument/2006/relationships/slideLayout" Target="../slideLayouts/slideLayout105.xml"/><Relationship Id="rId111" Type="http://schemas.openxmlformats.org/officeDocument/2006/relationships/slideLayout" Target="../slideLayouts/slideLayout128.xml"/><Relationship Id="rId132" Type="http://schemas.openxmlformats.org/officeDocument/2006/relationships/slideLayout" Target="../slideLayouts/slideLayout149.xml"/><Relationship Id="rId153" Type="http://schemas.openxmlformats.org/officeDocument/2006/relationships/slideLayout" Target="../slideLayouts/slideLayout170.xml"/><Relationship Id="rId174" Type="http://schemas.openxmlformats.org/officeDocument/2006/relationships/slideLayout" Target="../slideLayouts/slideLayout191.xml"/><Relationship Id="rId195" Type="http://schemas.openxmlformats.org/officeDocument/2006/relationships/slideLayout" Target="../slideLayouts/slideLayout212.xml"/><Relationship Id="rId209" Type="http://schemas.openxmlformats.org/officeDocument/2006/relationships/slideLayout" Target="../slideLayouts/slideLayout226.xml"/><Relationship Id="rId220" Type="http://schemas.openxmlformats.org/officeDocument/2006/relationships/slideLayout" Target="../slideLayouts/slideLayout237.xml"/><Relationship Id="rId241" Type="http://schemas.openxmlformats.org/officeDocument/2006/relationships/slideLayout" Target="../slideLayouts/slideLayout258.xml"/><Relationship Id="rId15" Type="http://schemas.openxmlformats.org/officeDocument/2006/relationships/slideLayout" Target="../slideLayouts/slideLayout32.xml"/><Relationship Id="rId36" Type="http://schemas.openxmlformats.org/officeDocument/2006/relationships/slideLayout" Target="../slideLayouts/slideLayout53.xml"/><Relationship Id="rId57" Type="http://schemas.openxmlformats.org/officeDocument/2006/relationships/slideLayout" Target="../slideLayouts/slideLayout74.xml"/><Relationship Id="rId262" Type="http://schemas.openxmlformats.org/officeDocument/2006/relationships/slideLayout" Target="../slideLayouts/slideLayout279.xml"/><Relationship Id="rId283" Type="http://schemas.openxmlformats.org/officeDocument/2006/relationships/slideLayout" Target="../slideLayouts/slideLayout300.xml"/><Relationship Id="rId78" Type="http://schemas.openxmlformats.org/officeDocument/2006/relationships/slideLayout" Target="../slideLayouts/slideLayout95.xml"/><Relationship Id="rId99" Type="http://schemas.openxmlformats.org/officeDocument/2006/relationships/slideLayout" Target="../slideLayouts/slideLayout116.xml"/><Relationship Id="rId101" Type="http://schemas.openxmlformats.org/officeDocument/2006/relationships/slideLayout" Target="../slideLayouts/slideLayout118.xml"/><Relationship Id="rId122" Type="http://schemas.openxmlformats.org/officeDocument/2006/relationships/slideLayout" Target="../slideLayouts/slideLayout139.xml"/><Relationship Id="rId143" Type="http://schemas.openxmlformats.org/officeDocument/2006/relationships/slideLayout" Target="../slideLayouts/slideLayout160.xml"/><Relationship Id="rId164" Type="http://schemas.openxmlformats.org/officeDocument/2006/relationships/slideLayout" Target="../slideLayouts/slideLayout181.xml"/><Relationship Id="rId185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6.xml"/><Relationship Id="rId210" Type="http://schemas.openxmlformats.org/officeDocument/2006/relationships/slideLayout" Target="../slideLayouts/slideLayout227.xml"/><Relationship Id="rId26" Type="http://schemas.openxmlformats.org/officeDocument/2006/relationships/slideLayout" Target="../slideLayouts/slideLayout43.xml"/><Relationship Id="rId231" Type="http://schemas.openxmlformats.org/officeDocument/2006/relationships/slideLayout" Target="../slideLayouts/slideLayout248.xml"/><Relationship Id="rId252" Type="http://schemas.openxmlformats.org/officeDocument/2006/relationships/slideLayout" Target="../slideLayouts/slideLayout269.xml"/><Relationship Id="rId273" Type="http://schemas.openxmlformats.org/officeDocument/2006/relationships/slideLayout" Target="../slideLayouts/slideLayout290.xml"/><Relationship Id="rId47" Type="http://schemas.openxmlformats.org/officeDocument/2006/relationships/slideLayout" Target="../slideLayouts/slideLayout64.xml"/><Relationship Id="rId68" Type="http://schemas.openxmlformats.org/officeDocument/2006/relationships/slideLayout" Target="../slideLayouts/slideLayout85.xml"/><Relationship Id="rId89" Type="http://schemas.openxmlformats.org/officeDocument/2006/relationships/slideLayout" Target="../slideLayouts/slideLayout106.xml"/><Relationship Id="rId112" Type="http://schemas.openxmlformats.org/officeDocument/2006/relationships/slideLayout" Target="../slideLayouts/slideLayout129.xml"/><Relationship Id="rId133" Type="http://schemas.openxmlformats.org/officeDocument/2006/relationships/slideLayout" Target="../slideLayouts/slideLayout150.xml"/><Relationship Id="rId154" Type="http://schemas.openxmlformats.org/officeDocument/2006/relationships/slideLayout" Target="../slideLayouts/slideLayout171.xml"/><Relationship Id="rId175" Type="http://schemas.openxmlformats.org/officeDocument/2006/relationships/slideLayout" Target="../slideLayouts/slideLayout192.xml"/><Relationship Id="rId196" Type="http://schemas.openxmlformats.org/officeDocument/2006/relationships/slideLayout" Target="../slideLayouts/slideLayout213.xml"/><Relationship Id="rId200" Type="http://schemas.openxmlformats.org/officeDocument/2006/relationships/slideLayout" Target="../slideLayouts/slideLayout217.xml"/><Relationship Id="rId16" Type="http://schemas.openxmlformats.org/officeDocument/2006/relationships/slideLayout" Target="../slideLayouts/slideLayout33.xml"/><Relationship Id="rId221" Type="http://schemas.openxmlformats.org/officeDocument/2006/relationships/slideLayout" Target="../slideLayouts/slideLayout238.xml"/><Relationship Id="rId242" Type="http://schemas.openxmlformats.org/officeDocument/2006/relationships/slideLayout" Target="../slideLayouts/slideLayout259.xml"/><Relationship Id="rId263" Type="http://schemas.openxmlformats.org/officeDocument/2006/relationships/slideLayout" Target="../slideLayouts/slideLayout280.xml"/><Relationship Id="rId284" Type="http://schemas.openxmlformats.org/officeDocument/2006/relationships/slideLayout" Target="../slideLayouts/slideLayout301.xml"/><Relationship Id="rId37" Type="http://schemas.openxmlformats.org/officeDocument/2006/relationships/slideLayout" Target="../slideLayouts/slideLayout54.xml"/><Relationship Id="rId58" Type="http://schemas.openxmlformats.org/officeDocument/2006/relationships/slideLayout" Target="../slideLayouts/slideLayout75.xml"/><Relationship Id="rId79" Type="http://schemas.openxmlformats.org/officeDocument/2006/relationships/slideLayout" Target="../slideLayouts/slideLayout96.xml"/><Relationship Id="rId102" Type="http://schemas.openxmlformats.org/officeDocument/2006/relationships/slideLayout" Target="../slideLayouts/slideLayout119.xml"/><Relationship Id="rId123" Type="http://schemas.openxmlformats.org/officeDocument/2006/relationships/slideLayout" Target="../slideLayouts/slideLayout140.xml"/><Relationship Id="rId144" Type="http://schemas.openxmlformats.org/officeDocument/2006/relationships/slideLayout" Target="../slideLayouts/slideLayout161.xml"/><Relationship Id="rId90" Type="http://schemas.openxmlformats.org/officeDocument/2006/relationships/slideLayout" Target="../slideLayouts/slideLayout107.xml"/><Relationship Id="rId165" Type="http://schemas.openxmlformats.org/officeDocument/2006/relationships/slideLayout" Target="../slideLayouts/slideLayout182.xml"/><Relationship Id="rId186" Type="http://schemas.openxmlformats.org/officeDocument/2006/relationships/slideLayout" Target="../slideLayouts/slideLayout203.xml"/><Relationship Id="rId211" Type="http://schemas.openxmlformats.org/officeDocument/2006/relationships/slideLayout" Target="../slideLayouts/slideLayout228.xml"/><Relationship Id="rId232" Type="http://schemas.openxmlformats.org/officeDocument/2006/relationships/slideLayout" Target="../slideLayouts/slideLayout249.xml"/><Relationship Id="rId253" Type="http://schemas.openxmlformats.org/officeDocument/2006/relationships/slideLayout" Target="../slideLayouts/slideLayout270.xml"/><Relationship Id="rId274" Type="http://schemas.openxmlformats.org/officeDocument/2006/relationships/slideLayout" Target="../slideLayouts/slideLayout291.xml"/><Relationship Id="rId27" Type="http://schemas.openxmlformats.org/officeDocument/2006/relationships/slideLayout" Target="../slideLayouts/slideLayout44.xml"/><Relationship Id="rId48" Type="http://schemas.openxmlformats.org/officeDocument/2006/relationships/slideLayout" Target="../slideLayouts/slideLayout65.xml"/><Relationship Id="rId69" Type="http://schemas.openxmlformats.org/officeDocument/2006/relationships/slideLayout" Target="../slideLayouts/slideLayout86.xml"/><Relationship Id="rId113" Type="http://schemas.openxmlformats.org/officeDocument/2006/relationships/slideLayout" Target="../slideLayouts/slideLayout130.xml"/><Relationship Id="rId134" Type="http://schemas.openxmlformats.org/officeDocument/2006/relationships/slideLayout" Target="../slideLayouts/slideLayout151.xml"/><Relationship Id="rId80" Type="http://schemas.openxmlformats.org/officeDocument/2006/relationships/slideLayout" Target="../slideLayouts/slideLayout97.xml"/><Relationship Id="rId155" Type="http://schemas.openxmlformats.org/officeDocument/2006/relationships/slideLayout" Target="../slideLayouts/slideLayout172.xml"/><Relationship Id="rId176" Type="http://schemas.openxmlformats.org/officeDocument/2006/relationships/slideLayout" Target="../slideLayouts/slideLayout193.xml"/><Relationship Id="rId197" Type="http://schemas.openxmlformats.org/officeDocument/2006/relationships/slideLayout" Target="../slideLayouts/slideLayout214.xml"/><Relationship Id="rId201" Type="http://schemas.openxmlformats.org/officeDocument/2006/relationships/slideLayout" Target="../slideLayouts/slideLayout218.xml"/><Relationship Id="rId222" Type="http://schemas.openxmlformats.org/officeDocument/2006/relationships/slideLayout" Target="../slideLayouts/slideLayout239.xml"/><Relationship Id="rId243" Type="http://schemas.openxmlformats.org/officeDocument/2006/relationships/slideLayout" Target="../slideLayouts/slideLayout260.xml"/><Relationship Id="rId264" Type="http://schemas.openxmlformats.org/officeDocument/2006/relationships/slideLayout" Target="../slideLayouts/slideLayout281.xml"/><Relationship Id="rId285" Type="http://schemas.openxmlformats.org/officeDocument/2006/relationships/slideLayout" Target="../slideLayouts/slideLayout302.xml"/><Relationship Id="rId17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55.xml"/><Relationship Id="rId59" Type="http://schemas.openxmlformats.org/officeDocument/2006/relationships/slideLayout" Target="../slideLayouts/slideLayout76.xml"/><Relationship Id="rId103" Type="http://schemas.openxmlformats.org/officeDocument/2006/relationships/slideLayout" Target="../slideLayouts/slideLayout120.xml"/><Relationship Id="rId124" Type="http://schemas.openxmlformats.org/officeDocument/2006/relationships/slideLayout" Target="../slideLayouts/slideLayout141.xml"/><Relationship Id="rId70" Type="http://schemas.openxmlformats.org/officeDocument/2006/relationships/slideLayout" Target="../slideLayouts/slideLayout87.xml"/><Relationship Id="rId91" Type="http://schemas.openxmlformats.org/officeDocument/2006/relationships/slideLayout" Target="../slideLayouts/slideLayout108.xml"/><Relationship Id="rId145" Type="http://schemas.openxmlformats.org/officeDocument/2006/relationships/slideLayout" Target="../slideLayouts/slideLayout162.xml"/><Relationship Id="rId166" Type="http://schemas.openxmlformats.org/officeDocument/2006/relationships/slideLayout" Target="../slideLayouts/slideLayout183.xml"/><Relationship Id="rId187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18.xml"/><Relationship Id="rId212" Type="http://schemas.openxmlformats.org/officeDocument/2006/relationships/slideLayout" Target="../slideLayouts/slideLayout229.xml"/><Relationship Id="rId233" Type="http://schemas.openxmlformats.org/officeDocument/2006/relationships/slideLayout" Target="../slideLayouts/slideLayout250.xml"/><Relationship Id="rId254" Type="http://schemas.openxmlformats.org/officeDocument/2006/relationships/slideLayout" Target="../slideLayouts/slideLayout271.xml"/><Relationship Id="rId28" Type="http://schemas.openxmlformats.org/officeDocument/2006/relationships/slideLayout" Target="../slideLayouts/slideLayout45.xml"/><Relationship Id="rId49" Type="http://schemas.openxmlformats.org/officeDocument/2006/relationships/slideLayout" Target="../slideLayouts/slideLayout66.xml"/><Relationship Id="rId114" Type="http://schemas.openxmlformats.org/officeDocument/2006/relationships/slideLayout" Target="../slideLayouts/slideLayout131.xml"/><Relationship Id="rId275" Type="http://schemas.openxmlformats.org/officeDocument/2006/relationships/slideLayout" Target="../slideLayouts/slideLayout292.xml"/><Relationship Id="rId60" Type="http://schemas.openxmlformats.org/officeDocument/2006/relationships/slideLayout" Target="../slideLayouts/slideLayout77.xml"/><Relationship Id="rId81" Type="http://schemas.openxmlformats.org/officeDocument/2006/relationships/slideLayout" Target="../slideLayouts/slideLayout98.xml"/><Relationship Id="rId135" Type="http://schemas.openxmlformats.org/officeDocument/2006/relationships/slideLayout" Target="../slideLayouts/slideLayout152.xml"/><Relationship Id="rId156" Type="http://schemas.openxmlformats.org/officeDocument/2006/relationships/slideLayout" Target="../slideLayouts/slideLayout173.xml"/><Relationship Id="rId177" Type="http://schemas.openxmlformats.org/officeDocument/2006/relationships/slideLayout" Target="../slideLayouts/slideLayout194.xml"/><Relationship Id="rId198" Type="http://schemas.openxmlformats.org/officeDocument/2006/relationships/slideLayout" Target="../slideLayouts/slideLayout215.xml"/><Relationship Id="rId202" Type="http://schemas.openxmlformats.org/officeDocument/2006/relationships/slideLayout" Target="../slideLayouts/slideLayout219.xml"/><Relationship Id="rId223" Type="http://schemas.openxmlformats.org/officeDocument/2006/relationships/slideLayout" Target="../slideLayouts/slideLayout240.xml"/><Relationship Id="rId244" Type="http://schemas.openxmlformats.org/officeDocument/2006/relationships/slideLayout" Target="../slideLayouts/slideLayout261.xml"/><Relationship Id="rId18" Type="http://schemas.openxmlformats.org/officeDocument/2006/relationships/slideLayout" Target="../slideLayouts/slideLayout35.xml"/><Relationship Id="rId39" Type="http://schemas.openxmlformats.org/officeDocument/2006/relationships/slideLayout" Target="../slideLayouts/slideLayout56.xml"/><Relationship Id="rId265" Type="http://schemas.openxmlformats.org/officeDocument/2006/relationships/slideLayout" Target="../slideLayouts/slideLayout282.xml"/><Relationship Id="rId286" Type="http://schemas.openxmlformats.org/officeDocument/2006/relationships/theme" Target="../theme/theme3.xml"/><Relationship Id="rId50" Type="http://schemas.openxmlformats.org/officeDocument/2006/relationships/slideLayout" Target="../slideLayouts/slideLayout67.xml"/><Relationship Id="rId104" Type="http://schemas.openxmlformats.org/officeDocument/2006/relationships/slideLayout" Target="../slideLayouts/slideLayout121.xml"/><Relationship Id="rId125" Type="http://schemas.openxmlformats.org/officeDocument/2006/relationships/slideLayout" Target="../slideLayouts/slideLayout142.xml"/><Relationship Id="rId146" Type="http://schemas.openxmlformats.org/officeDocument/2006/relationships/slideLayout" Target="../slideLayouts/slideLayout163.xml"/><Relationship Id="rId167" Type="http://schemas.openxmlformats.org/officeDocument/2006/relationships/slideLayout" Target="../slideLayouts/slideLayout184.xml"/><Relationship Id="rId188" Type="http://schemas.openxmlformats.org/officeDocument/2006/relationships/slideLayout" Target="../slideLayouts/slideLayout205.xml"/><Relationship Id="rId71" Type="http://schemas.openxmlformats.org/officeDocument/2006/relationships/slideLayout" Target="../slideLayouts/slideLayout88.xml"/><Relationship Id="rId92" Type="http://schemas.openxmlformats.org/officeDocument/2006/relationships/slideLayout" Target="../slideLayouts/slideLayout109.xml"/><Relationship Id="rId213" Type="http://schemas.openxmlformats.org/officeDocument/2006/relationships/slideLayout" Target="../slideLayouts/slideLayout230.xml"/><Relationship Id="rId234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19.xml"/><Relationship Id="rId29" Type="http://schemas.openxmlformats.org/officeDocument/2006/relationships/slideLayout" Target="../slideLayouts/slideLayout46.xml"/><Relationship Id="rId255" Type="http://schemas.openxmlformats.org/officeDocument/2006/relationships/slideLayout" Target="../slideLayouts/slideLayout272.xml"/><Relationship Id="rId276" Type="http://schemas.openxmlformats.org/officeDocument/2006/relationships/slideLayout" Target="../slideLayouts/slideLayout293.xml"/><Relationship Id="rId40" Type="http://schemas.openxmlformats.org/officeDocument/2006/relationships/slideLayout" Target="../slideLayouts/slideLayout57.xml"/><Relationship Id="rId115" Type="http://schemas.openxmlformats.org/officeDocument/2006/relationships/slideLayout" Target="../slideLayouts/slideLayout132.xml"/><Relationship Id="rId136" Type="http://schemas.openxmlformats.org/officeDocument/2006/relationships/slideLayout" Target="../slideLayouts/slideLayout153.xml"/><Relationship Id="rId157" Type="http://schemas.openxmlformats.org/officeDocument/2006/relationships/slideLayout" Target="../slideLayouts/slideLayout174.xml"/><Relationship Id="rId178" Type="http://schemas.openxmlformats.org/officeDocument/2006/relationships/slideLayout" Target="../slideLayouts/slideLayout195.xml"/><Relationship Id="rId61" Type="http://schemas.openxmlformats.org/officeDocument/2006/relationships/slideLayout" Target="../slideLayouts/slideLayout78.xml"/><Relationship Id="rId82" Type="http://schemas.openxmlformats.org/officeDocument/2006/relationships/slideLayout" Target="../slideLayouts/slideLayout99.xml"/><Relationship Id="rId199" Type="http://schemas.openxmlformats.org/officeDocument/2006/relationships/slideLayout" Target="../slideLayouts/slideLayout216.xml"/><Relationship Id="rId203" Type="http://schemas.openxmlformats.org/officeDocument/2006/relationships/slideLayout" Target="../slideLayouts/slideLayout220.xml"/><Relationship Id="rId19" Type="http://schemas.openxmlformats.org/officeDocument/2006/relationships/slideLayout" Target="../slideLayouts/slideLayout36.xml"/><Relationship Id="rId224" Type="http://schemas.openxmlformats.org/officeDocument/2006/relationships/slideLayout" Target="../slideLayouts/slideLayout241.xml"/><Relationship Id="rId245" Type="http://schemas.openxmlformats.org/officeDocument/2006/relationships/slideLayout" Target="../slideLayouts/slideLayout262.xml"/><Relationship Id="rId266" Type="http://schemas.openxmlformats.org/officeDocument/2006/relationships/slideLayout" Target="../slideLayouts/slideLayout283.xml"/><Relationship Id="rId30" Type="http://schemas.openxmlformats.org/officeDocument/2006/relationships/slideLayout" Target="../slideLayouts/slideLayout47.xml"/><Relationship Id="rId105" Type="http://schemas.openxmlformats.org/officeDocument/2006/relationships/slideLayout" Target="../slideLayouts/slideLayout122.xml"/><Relationship Id="rId126" Type="http://schemas.openxmlformats.org/officeDocument/2006/relationships/slideLayout" Target="../slideLayouts/slideLayout143.xml"/><Relationship Id="rId147" Type="http://schemas.openxmlformats.org/officeDocument/2006/relationships/slideLayout" Target="../slideLayouts/slideLayout164.xml"/><Relationship Id="rId168" Type="http://schemas.openxmlformats.org/officeDocument/2006/relationships/slideLayout" Target="../slideLayouts/slideLayout185.xml"/><Relationship Id="rId51" Type="http://schemas.openxmlformats.org/officeDocument/2006/relationships/slideLayout" Target="../slideLayouts/slideLayout68.xml"/><Relationship Id="rId72" Type="http://schemas.openxmlformats.org/officeDocument/2006/relationships/slideLayout" Target="../slideLayouts/slideLayout89.xml"/><Relationship Id="rId93" Type="http://schemas.openxmlformats.org/officeDocument/2006/relationships/slideLayout" Target="../slideLayouts/slideLayout110.xml"/><Relationship Id="rId189" Type="http://schemas.openxmlformats.org/officeDocument/2006/relationships/slideLayout" Target="../slideLayouts/slideLayout206.xml"/><Relationship Id="rId3" Type="http://schemas.openxmlformats.org/officeDocument/2006/relationships/slideLayout" Target="../slideLayouts/slideLayout20.xml"/><Relationship Id="rId214" Type="http://schemas.openxmlformats.org/officeDocument/2006/relationships/slideLayout" Target="../slideLayouts/slideLayout231.xml"/><Relationship Id="rId235" Type="http://schemas.openxmlformats.org/officeDocument/2006/relationships/slideLayout" Target="../slideLayouts/slideLayout252.xml"/><Relationship Id="rId256" Type="http://schemas.openxmlformats.org/officeDocument/2006/relationships/slideLayout" Target="../slideLayouts/slideLayout273.xml"/><Relationship Id="rId277" Type="http://schemas.openxmlformats.org/officeDocument/2006/relationships/slideLayout" Target="../slideLayouts/slideLayout294.xml"/><Relationship Id="rId116" Type="http://schemas.openxmlformats.org/officeDocument/2006/relationships/slideLayout" Target="../slideLayouts/slideLayout133.xml"/><Relationship Id="rId137" Type="http://schemas.openxmlformats.org/officeDocument/2006/relationships/slideLayout" Target="../slideLayouts/slideLayout154.xml"/><Relationship Id="rId158" Type="http://schemas.openxmlformats.org/officeDocument/2006/relationships/slideLayout" Target="../slideLayouts/slideLayout175.xml"/><Relationship Id="rId20" Type="http://schemas.openxmlformats.org/officeDocument/2006/relationships/slideLayout" Target="../slideLayouts/slideLayout37.xml"/><Relationship Id="rId41" Type="http://schemas.openxmlformats.org/officeDocument/2006/relationships/slideLayout" Target="../slideLayouts/slideLayout58.xml"/><Relationship Id="rId62" Type="http://schemas.openxmlformats.org/officeDocument/2006/relationships/slideLayout" Target="../slideLayouts/slideLayout79.xml"/><Relationship Id="rId83" Type="http://schemas.openxmlformats.org/officeDocument/2006/relationships/slideLayout" Target="../slideLayouts/slideLayout100.xml"/><Relationship Id="rId179" Type="http://schemas.openxmlformats.org/officeDocument/2006/relationships/slideLayout" Target="../slideLayouts/slideLayout196.xml"/><Relationship Id="rId190" Type="http://schemas.openxmlformats.org/officeDocument/2006/relationships/slideLayout" Target="../slideLayouts/slideLayout207.xml"/><Relationship Id="rId204" Type="http://schemas.openxmlformats.org/officeDocument/2006/relationships/slideLayout" Target="../slideLayouts/slideLayout221.xml"/><Relationship Id="rId225" Type="http://schemas.openxmlformats.org/officeDocument/2006/relationships/slideLayout" Target="../slideLayouts/slideLayout242.xml"/><Relationship Id="rId246" Type="http://schemas.openxmlformats.org/officeDocument/2006/relationships/slideLayout" Target="../slideLayouts/slideLayout263.xml"/><Relationship Id="rId267" Type="http://schemas.openxmlformats.org/officeDocument/2006/relationships/slideLayout" Target="../slideLayouts/slideLayout284.xml"/><Relationship Id="rId106" Type="http://schemas.openxmlformats.org/officeDocument/2006/relationships/slideLayout" Target="../slideLayouts/slideLayout123.xml"/><Relationship Id="rId127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48.xml"/><Relationship Id="rId52" Type="http://schemas.openxmlformats.org/officeDocument/2006/relationships/slideLayout" Target="../slideLayouts/slideLayout69.xml"/><Relationship Id="rId73" Type="http://schemas.openxmlformats.org/officeDocument/2006/relationships/slideLayout" Target="../slideLayouts/slideLayout90.xml"/><Relationship Id="rId94" Type="http://schemas.openxmlformats.org/officeDocument/2006/relationships/slideLayout" Target="../slideLayouts/slideLayout111.xml"/><Relationship Id="rId148" Type="http://schemas.openxmlformats.org/officeDocument/2006/relationships/slideLayout" Target="../slideLayouts/slideLayout165.xml"/><Relationship Id="rId169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21.xml"/><Relationship Id="rId180" Type="http://schemas.openxmlformats.org/officeDocument/2006/relationships/slideLayout" Target="../slideLayouts/slideLayout197.xml"/><Relationship Id="rId215" Type="http://schemas.openxmlformats.org/officeDocument/2006/relationships/slideLayout" Target="../slideLayouts/slideLayout232.xml"/><Relationship Id="rId236" Type="http://schemas.openxmlformats.org/officeDocument/2006/relationships/slideLayout" Target="../slideLayouts/slideLayout253.xml"/><Relationship Id="rId257" Type="http://schemas.openxmlformats.org/officeDocument/2006/relationships/slideLayout" Target="../slideLayouts/slideLayout274.xml"/><Relationship Id="rId278" Type="http://schemas.openxmlformats.org/officeDocument/2006/relationships/slideLayout" Target="../slideLayouts/slideLayout295.xml"/><Relationship Id="rId42" Type="http://schemas.openxmlformats.org/officeDocument/2006/relationships/slideLayout" Target="../slideLayouts/slideLayout59.xml"/><Relationship Id="rId84" Type="http://schemas.openxmlformats.org/officeDocument/2006/relationships/slideLayout" Target="../slideLayouts/slideLayout101.xml"/><Relationship Id="rId138" Type="http://schemas.openxmlformats.org/officeDocument/2006/relationships/slideLayout" Target="../slideLayouts/slideLayout155.xml"/><Relationship Id="rId191" Type="http://schemas.openxmlformats.org/officeDocument/2006/relationships/slideLayout" Target="../slideLayouts/slideLayout208.xml"/><Relationship Id="rId205" Type="http://schemas.openxmlformats.org/officeDocument/2006/relationships/slideLayout" Target="../slideLayouts/slideLayout222.xml"/><Relationship Id="rId247" Type="http://schemas.openxmlformats.org/officeDocument/2006/relationships/slideLayout" Target="../slideLayouts/slideLayout264.xml"/><Relationship Id="rId107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28.xml"/><Relationship Id="rId53" Type="http://schemas.openxmlformats.org/officeDocument/2006/relationships/slideLayout" Target="../slideLayouts/slideLayout70.xml"/><Relationship Id="rId149" Type="http://schemas.openxmlformats.org/officeDocument/2006/relationships/slideLayout" Target="../slideLayouts/slideLayout166.xml"/><Relationship Id="rId95" Type="http://schemas.openxmlformats.org/officeDocument/2006/relationships/slideLayout" Target="../slideLayouts/slideLayout112.xml"/><Relationship Id="rId160" Type="http://schemas.openxmlformats.org/officeDocument/2006/relationships/slideLayout" Target="../slideLayouts/slideLayout177.xml"/><Relationship Id="rId216" Type="http://schemas.openxmlformats.org/officeDocument/2006/relationships/slideLayout" Target="../slideLayouts/slideLayout233.xml"/><Relationship Id="rId258" Type="http://schemas.openxmlformats.org/officeDocument/2006/relationships/slideLayout" Target="../slideLayouts/slideLayout275.xml"/><Relationship Id="rId22" Type="http://schemas.openxmlformats.org/officeDocument/2006/relationships/slideLayout" Target="../slideLayouts/slideLayout39.xml"/><Relationship Id="rId64" Type="http://schemas.openxmlformats.org/officeDocument/2006/relationships/slideLayout" Target="../slideLayouts/slideLayout81.xml"/><Relationship Id="rId118" Type="http://schemas.openxmlformats.org/officeDocument/2006/relationships/slideLayout" Target="../slideLayouts/slideLayout135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419.xml"/><Relationship Id="rId671" Type="http://schemas.openxmlformats.org/officeDocument/2006/relationships/slideLayout" Target="../slideLayouts/slideLayout973.xml"/><Relationship Id="rId21" Type="http://schemas.openxmlformats.org/officeDocument/2006/relationships/slideLayout" Target="../slideLayouts/slideLayout323.xml"/><Relationship Id="rId324" Type="http://schemas.openxmlformats.org/officeDocument/2006/relationships/slideLayout" Target="../slideLayouts/slideLayout626.xml"/><Relationship Id="rId531" Type="http://schemas.openxmlformats.org/officeDocument/2006/relationships/slideLayout" Target="../slideLayouts/slideLayout833.xml"/><Relationship Id="rId629" Type="http://schemas.openxmlformats.org/officeDocument/2006/relationships/slideLayout" Target="../slideLayouts/slideLayout931.xml"/><Relationship Id="rId170" Type="http://schemas.openxmlformats.org/officeDocument/2006/relationships/slideLayout" Target="../slideLayouts/slideLayout472.xml"/><Relationship Id="rId268" Type="http://schemas.openxmlformats.org/officeDocument/2006/relationships/slideLayout" Target="../slideLayouts/slideLayout570.xml"/><Relationship Id="rId475" Type="http://schemas.openxmlformats.org/officeDocument/2006/relationships/slideLayout" Target="../slideLayouts/slideLayout777.xml"/><Relationship Id="rId682" Type="http://schemas.openxmlformats.org/officeDocument/2006/relationships/slideLayout" Target="../slideLayouts/slideLayout984.xml"/><Relationship Id="rId32" Type="http://schemas.openxmlformats.org/officeDocument/2006/relationships/slideLayout" Target="../slideLayouts/slideLayout334.xml"/><Relationship Id="rId128" Type="http://schemas.openxmlformats.org/officeDocument/2006/relationships/slideLayout" Target="../slideLayouts/slideLayout430.xml"/><Relationship Id="rId335" Type="http://schemas.openxmlformats.org/officeDocument/2006/relationships/slideLayout" Target="../slideLayouts/slideLayout637.xml"/><Relationship Id="rId542" Type="http://schemas.openxmlformats.org/officeDocument/2006/relationships/slideLayout" Target="../slideLayouts/slideLayout844.xml"/><Relationship Id="rId181" Type="http://schemas.openxmlformats.org/officeDocument/2006/relationships/slideLayout" Target="../slideLayouts/slideLayout483.xml"/><Relationship Id="rId402" Type="http://schemas.openxmlformats.org/officeDocument/2006/relationships/slideLayout" Target="../slideLayouts/slideLayout704.xml"/><Relationship Id="rId279" Type="http://schemas.openxmlformats.org/officeDocument/2006/relationships/slideLayout" Target="../slideLayouts/slideLayout581.xml"/><Relationship Id="rId486" Type="http://schemas.openxmlformats.org/officeDocument/2006/relationships/slideLayout" Target="../slideLayouts/slideLayout788.xml"/><Relationship Id="rId693" Type="http://schemas.openxmlformats.org/officeDocument/2006/relationships/slideLayout" Target="../slideLayouts/slideLayout995.xml"/><Relationship Id="rId707" Type="http://schemas.openxmlformats.org/officeDocument/2006/relationships/slideLayout" Target="../slideLayouts/slideLayout1009.xml"/><Relationship Id="rId43" Type="http://schemas.openxmlformats.org/officeDocument/2006/relationships/slideLayout" Target="../slideLayouts/slideLayout345.xml"/><Relationship Id="rId139" Type="http://schemas.openxmlformats.org/officeDocument/2006/relationships/slideLayout" Target="../slideLayouts/slideLayout441.xml"/><Relationship Id="rId346" Type="http://schemas.openxmlformats.org/officeDocument/2006/relationships/slideLayout" Target="../slideLayouts/slideLayout648.xml"/><Relationship Id="rId553" Type="http://schemas.openxmlformats.org/officeDocument/2006/relationships/slideLayout" Target="../slideLayouts/slideLayout855.xml"/><Relationship Id="rId192" Type="http://schemas.openxmlformats.org/officeDocument/2006/relationships/slideLayout" Target="../slideLayouts/slideLayout494.xml"/><Relationship Id="rId206" Type="http://schemas.openxmlformats.org/officeDocument/2006/relationships/slideLayout" Target="../slideLayouts/slideLayout508.xml"/><Relationship Id="rId413" Type="http://schemas.openxmlformats.org/officeDocument/2006/relationships/slideLayout" Target="../slideLayouts/slideLayout715.xml"/><Relationship Id="rId497" Type="http://schemas.openxmlformats.org/officeDocument/2006/relationships/slideLayout" Target="../slideLayouts/slideLayout799.xml"/><Relationship Id="rId620" Type="http://schemas.openxmlformats.org/officeDocument/2006/relationships/slideLayout" Target="../slideLayouts/slideLayout922.xml"/><Relationship Id="rId718" Type="http://schemas.openxmlformats.org/officeDocument/2006/relationships/slideLayout" Target="../slideLayouts/slideLayout1020.xml"/><Relationship Id="rId357" Type="http://schemas.openxmlformats.org/officeDocument/2006/relationships/slideLayout" Target="../slideLayouts/slideLayout659.xml"/><Relationship Id="rId54" Type="http://schemas.openxmlformats.org/officeDocument/2006/relationships/slideLayout" Target="../slideLayouts/slideLayout356.xml"/><Relationship Id="rId217" Type="http://schemas.openxmlformats.org/officeDocument/2006/relationships/slideLayout" Target="../slideLayouts/slideLayout519.xml"/><Relationship Id="rId564" Type="http://schemas.openxmlformats.org/officeDocument/2006/relationships/slideLayout" Target="../slideLayouts/slideLayout866.xml"/><Relationship Id="rId424" Type="http://schemas.openxmlformats.org/officeDocument/2006/relationships/slideLayout" Target="../slideLayouts/slideLayout726.xml"/><Relationship Id="rId631" Type="http://schemas.openxmlformats.org/officeDocument/2006/relationships/slideLayout" Target="../slideLayouts/slideLayout933.xml"/><Relationship Id="rId729" Type="http://schemas.openxmlformats.org/officeDocument/2006/relationships/slideLayout" Target="../slideLayouts/slideLayout1031.xml"/><Relationship Id="rId270" Type="http://schemas.openxmlformats.org/officeDocument/2006/relationships/slideLayout" Target="../slideLayouts/slideLayout572.xml"/><Relationship Id="rId65" Type="http://schemas.openxmlformats.org/officeDocument/2006/relationships/slideLayout" Target="../slideLayouts/slideLayout367.xml"/><Relationship Id="rId130" Type="http://schemas.openxmlformats.org/officeDocument/2006/relationships/slideLayout" Target="../slideLayouts/slideLayout432.xml"/><Relationship Id="rId368" Type="http://schemas.openxmlformats.org/officeDocument/2006/relationships/slideLayout" Target="../slideLayouts/slideLayout670.xml"/><Relationship Id="rId575" Type="http://schemas.openxmlformats.org/officeDocument/2006/relationships/slideLayout" Target="../slideLayouts/slideLayout877.xml"/><Relationship Id="rId228" Type="http://schemas.openxmlformats.org/officeDocument/2006/relationships/slideLayout" Target="../slideLayouts/slideLayout530.xml"/><Relationship Id="rId435" Type="http://schemas.openxmlformats.org/officeDocument/2006/relationships/slideLayout" Target="../slideLayouts/slideLayout737.xml"/><Relationship Id="rId642" Type="http://schemas.openxmlformats.org/officeDocument/2006/relationships/slideLayout" Target="../slideLayouts/slideLayout944.xml"/><Relationship Id="rId281" Type="http://schemas.openxmlformats.org/officeDocument/2006/relationships/slideLayout" Target="../slideLayouts/slideLayout583.xml"/><Relationship Id="rId502" Type="http://schemas.openxmlformats.org/officeDocument/2006/relationships/slideLayout" Target="../slideLayouts/slideLayout804.xml"/><Relationship Id="rId76" Type="http://schemas.openxmlformats.org/officeDocument/2006/relationships/slideLayout" Target="../slideLayouts/slideLayout378.xml"/><Relationship Id="rId141" Type="http://schemas.openxmlformats.org/officeDocument/2006/relationships/slideLayout" Target="../slideLayouts/slideLayout443.xml"/><Relationship Id="rId379" Type="http://schemas.openxmlformats.org/officeDocument/2006/relationships/slideLayout" Target="../slideLayouts/slideLayout681.xml"/><Relationship Id="rId586" Type="http://schemas.openxmlformats.org/officeDocument/2006/relationships/slideLayout" Target="../slideLayouts/slideLayout888.xml"/><Relationship Id="rId7" Type="http://schemas.openxmlformats.org/officeDocument/2006/relationships/slideLayout" Target="../slideLayouts/slideLayout309.xml"/><Relationship Id="rId239" Type="http://schemas.openxmlformats.org/officeDocument/2006/relationships/slideLayout" Target="../slideLayouts/slideLayout541.xml"/><Relationship Id="rId446" Type="http://schemas.openxmlformats.org/officeDocument/2006/relationships/slideLayout" Target="../slideLayouts/slideLayout748.xml"/><Relationship Id="rId653" Type="http://schemas.openxmlformats.org/officeDocument/2006/relationships/slideLayout" Target="../slideLayouts/slideLayout955.xml"/><Relationship Id="rId292" Type="http://schemas.openxmlformats.org/officeDocument/2006/relationships/slideLayout" Target="../slideLayouts/slideLayout594.xml"/><Relationship Id="rId306" Type="http://schemas.openxmlformats.org/officeDocument/2006/relationships/slideLayout" Target="../slideLayouts/slideLayout608.xml"/><Relationship Id="rId87" Type="http://schemas.openxmlformats.org/officeDocument/2006/relationships/slideLayout" Target="../slideLayouts/slideLayout389.xml"/><Relationship Id="rId513" Type="http://schemas.openxmlformats.org/officeDocument/2006/relationships/slideLayout" Target="../slideLayouts/slideLayout815.xml"/><Relationship Id="rId597" Type="http://schemas.openxmlformats.org/officeDocument/2006/relationships/slideLayout" Target="../slideLayouts/slideLayout899.xml"/><Relationship Id="rId720" Type="http://schemas.openxmlformats.org/officeDocument/2006/relationships/slideLayout" Target="../slideLayouts/slideLayout1022.xml"/><Relationship Id="rId152" Type="http://schemas.openxmlformats.org/officeDocument/2006/relationships/slideLayout" Target="../slideLayouts/slideLayout454.xml"/><Relationship Id="rId457" Type="http://schemas.openxmlformats.org/officeDocument/2006/relationships/slideLayout" Target="../slideLayouts/slideLayout759.xml"/><Relationship Id="rId664" Type="http://schemas.openxmlformats.org/officeDocument/2006/relationships/slideLayout" Target="../slideLayouts/slideLayout966.xml"/><Relationship Id="rId14" Type="http://schemas.openxmlformats.org/officeDocument/2006/relationships/slideLayout" Target="../slideLayouts/slideLayout316.xml"/><Relationship Id="rId317" Type="http://schemas.openxmlformats.org/officeDocument/2006/relationships/slideLayout" Target="../slideLayouts/slideLayout619.xml"/><Relationship Id="rId524" Type="http://schemas.openxmlformats.org/officeDocument/2006/relationships/slideLayout" Target="../slideLayouts/slideLayout826.xml"/><Relationship Id="rId731" Type="http://schemas.openxmlformats.org/officeDocument/2006/relationships/slideLayout" Target="../slideLayouts/slideLayout1033.xml"/><Relationship Id="rId98" Type="http://schemas.openxmlformats.org/officeDocument/2006/relationships/slideLayout" Target="../slideLayouts/slideLayout400.xml"/><Relationship Id="rId163" Type="http://schemas.openxmlformats.org/officeDocument/2006/relationships/slideLayout" Target="../slideLayouts/slideLayout465.xml"/><Relationship Id="rId370" Type="http://schemas.openxmlformats.org/officeDocument/2006/relationships/slideLayout" Target="../slideLayouts/slideLayout672.xml"/><Relationship Id="rId230" Type="http://schemas.openxmlformats.org/officeDocument/2006/relationships/slideLayout" Target="../slideLayouts/slideLayout532.xml"/><Relationship Id="rId468" Type="http://schemas.openxmlformats.org/officeDocument/2006/relationships/slideLayout" Target="../slideLayouts/slideLayout770.xml"/><Relationship Id="rId675" Type="http://schemas.openxmlformats.org/officeDocument/2006/relationships/slideLayout" Target="../slideLayouts/slideLayout977.xml"/><Relationship Id="rId25" Type="http://schemas.openxmlformats.org/officeDocument/2006/relationships/slideLayout" Target="../slideLayouts/slideLayout327.xml"/><Relationship Id="rId328" Type="http://schemas.openxmlformats.org/officeDocument/2006/relationships/slideLayout" Target="../slideLayouts/slideLayout630.xml"/><Relationship Id="rId535" Type="http://schemas.openxmlformats.org/officeDocument/2006/relationships/slideLayout" Target="../slideLayouts/slideLayout837.xml"/><Relationship Id="rId742" Type="http://schemas.openxmlformats.org/officeDocument/2006/relationships/slideLayout" Target="../slideLayouts/slideLayout1044.xml"/><Relationship Id="rId174" Type="http://schemas.openxmlformats.org/officeDocument/2006/relationships/slideLayout" Target="../slideLayouts/slideLayout476.xml"/><Relationship Id="rId381" Type="http://schemas.openxmlformats.org/officeDocument/2006/relationships/slideLayout" Target="../slideLayouts/slideLayout683.xml"/><Relationship Id="rId602" Type="http://schemas.openxmlformats.org/officeDocument/2006/relationships/slideLayout" Target="../slideLayouts/slideLayout904.xml"/><Relationship Id="rId241" Type="http://schemas.openxmlformats.org/officeDocument/2006/relationships/slideLayout" Target="../slideLayouts/slideLayout543.xml"/><Relationship Id="rId479" Type="http://schemas.openxmlformats.org/officeDocument/2006/relationships/slideLayout" Target="../slideLayouts/slideLayout781.xml"/><Relationship Id="rId686" Type="http://schemas.openxmlformats.org/officeDocument/2006/relationships/slideLayout" Target="../slideLayouts/slideLayout988.xml"/><Relationship Id="rId36" Type="http://schemas.openxmlformats.org/officeDocument/2006/relationships/slideLayout" Target="../slideLayouts/slideLayout338.xml"/><Relationship Id="rId339" Type="http://schemas.openxmlformats.org/officeDocument/2006/relationships/slideLayout" Target="../slideLayouts/slideLayout641.xml"/><Relationship Id="rId546" Type="http://schemas.openxmlformats.org/officeDocument/2006/relationships/slideLayout" Target="../slideLayouts/slideLayout848.xml"/><Relationship Id="rId101" Type="http://schemas.openxmlformats.org/officeDocument/2006/relationships/slideLayout" Target="../slideLayouts/slideLayout403.xml"/><Relationship Id="rId185" Type="http://schemas.openxmlformats.org/officeDocument/2006/relationships/slideLayout" Target="../slideLayouts/slideLayout487.xml"/><Relationship Id="rId406" Type="http://schemas.openxmlformats.org/officeDocument/2006/relationships/slideLayout" Target="../slideLayouts/slideLayout708.xml"/><Relationship Id="rId392" Type="http://schemas.openxmlformats.org/officeDocument/2006/relationships/slideLayout" Target="../slideLayouts/slideLayout694.xml"/><Relationship Id="rId613" Type="http://schemas.openxmlformats.org/officeDocument/2006/relationships/slideLayout" Target="../slideLayouts/slideLayout915.xml"/><Relationship Id="rId697" Type="http://schemas.openxmlformats.org/officeDocument/2006/relationships/slideLayout" Target="../slideLayouts/slideLayout999.xml"/><Relationship Id="rId252" Type="http://schemas.openxmlformats.org/officeDocument/2006/relationships/slideLayout" Target="../slideLayouts/slideLayout554.xml"/><Relationship Id="rId47" Type="http://schemas.openxmlformats.org/officeDocument/2006/relationships/slideLayout" Target="../slideLayouts/slideLayout349.xml"/><Relationship Id="rId112" Type="http://schemas.openxmlformats.org/officeDocument/2006/relationships/slideLayout" Target="../slideLayouts/slideLayout414.xml"/><Relationship Id="rId557" Type="http://schemas.openxmlformats.org/officeDocument/2006/relationships/slideLayout" Target="../slideLayouts/slideLayout859.xml"/><Relationship Id="rId196" Type="http://schemas.openxmlformats.org/officeDocument/2006/relationships/slideLayout" Target="../slideLayouts/slideLayout498.xml"/><Relationship Id="rId417" Type="http://schemas.openxmlformats.org/officeDocument/2006/relationships/slideLayout" Target="../slideLayouts/slideLayout719.xml"/><Relationship Id="rId624" Type="http://schemas.openxmlformats.org/officeDocument/2006/relationships/slideLayout" Target="../slideLayouts/slideLayout926.xml"/><Relationship Id="rId263" Type="http://schemas.openxmlformats.org/officeDocument/2006/relationships/slideLayout" Target="../slideLayouts/slideLayout565.xml"/><Relationship Id="rId470" Type="http://schemas.openxmlformats.org/officeDocument/2006/relationships/slideLayout" Target="../slideLayouts/slideLayout772.xml"/><Relationship Id="rId58" Type="http://schemas.openxmlformats.org/officeDocument/2006/relationships/slideLayout" Target="../slideLayouts/slideLayout360.xml"/><Relationship Id="rId123" Type="http://schemas.openxmlformats.org/officeDocument/2006/relationships/slideLayout" Target="../slideLayouts/slideLayout425.xml"/><Relationship Id="rId330" Type="http://schemas.openxmlformats.org/officeDocument/2006/relationships/slideLayout" Target="../slideLayouts/slideLayout632.xml"/><Relationship Id="rId568" Type="http://schemas.openxmlformats.org/officeDocument/2006/relationships/slideLayout" Target="../slideLayouts/slideLayout870.xml"/><Relationship Id="rId428" Type="http://schemas.openxmlformats.org/officeDocument/2006/relationships/slideLayout" Target="../slideLayouts/slideLayout730.xml"/><Relationship Id="rId635" Type="http://schemas.openxmlformats.org/officeDocument/2006/relationships/slideLayout" Target="../slideLayouts/slideLayout937.xml"/><Relationship Id="rId274" Type="http://schemas.openxmlformats.org/officeDocument/2006/relationships/slideLayout" Target="../slideLayouts/slideLayout576.xml"/><Relationship Id="rId481" Type="http://schemas.openxmlformats.org/officeDocument/2006/relationships/slideLayout" Target="../slideLayouts/slideLayout783.xml"/><Relationship Id="rId702" Type="http://schemas.openxmlformats.org/officeDocument/2006/relationships/slideLayout" Target="../slideLayouts/slideLayout1004.xml"/><Relationship Id="rId69" Type="http://schemas.openxmlformats.org/officeDocument/2006/relationships/slideLayout" Target="../slideLayouts/slideLayout371.xml"/><Relationship Id="rId134" Type="http://schemas.openxmlformats.org/officeDocument/2006/relationships/slideLayout" Target="../slideLayouts/slideLayout436.xml"/><Relationship Id="rId579" Type="http://schemas.openxmlformats.org/officeDocument/2006/relationships/slideLayout" Target="../slideLayouts/slideLayout881.xml"/><Relationship Id="rId341" Type="http://schemas.openxmlformats.org/officeDocument/2006/relationships/slideLayout" Target="../slideLayouts/slideLayout643.xml"/><Relationship Id="rId439" Type="http://schemas.openxmlformats.org/officeDocument/2006/relationships/slideLayout" Target="../slideLayouts/slideLayout741.xml"/><Relationship Id="rId646" Type="http://schemas.openxmlformats.org/officeDocument/2006/relationships/slideLayout" Target="../slideLayouts/slideLayout948.xml"/><Relationship Id="rId201" Type="http://schemas.openxmlformats.org/officeDocument/2006/relationships/slideLayout" Target="../slideLayouts/slideLayout503.xml"/><Relationship Id="rId285" Type="http://schemas.openxmlformats.org/officeDocument/2006/relationships/slideLayout" Target="../slideLayouts/slideLayout587.xml"/><Relationship Id="rId506" Type="http://schemas.openxmlformats.org/officeDocument/2006/relationships/slideLayout" Target="../slideLayouts/slideLayout808.xml"/><Relationship Id="rId492" Type="http://schemas.openxmlformats.org/officeDocument/2006/relationships/slideLayout" Target="../slideLayouts/slideLayout794.xml"/><Relationship Id="rId713" Type="http://schemas.openxmlformats.org/officeDocument/2006/relationships/slideLayout" Target="../slideLayouts/slideLayout1015.xml"/><Relationship Id="rId145" Type="http://schemas.openxmlformats.org/officeDocument/2006/relationships/slideLayout" Target="../slideLayouts/slideLayout447.xml"/><Relationship Id="rId352" Type="http://schemas.openxmlformats.org/officeDocument/2006/relationships/slideLayout" Target="../slideLayouts/slideLayout654.xml"/><Relationship Id="rId212" Type="http://schemas.openxmlformats.org/officeDocument/2006/relationships/slideLayout" Target="../slideLayouts/slideLayout514.xml"/><Relationship Id="rId657" Type="http://schemas.openxmlformats.org/officeDocument/2006/relationships/slideLayout" Target="../slideLayouts/slideLayout959.xml"/><Relationship Id="rId296" Type="http://schemas.openxmlformats.org/officeDocument/2006/relationships/slideLayout" Target="../slideLayouts/slideLayout598.xml"/><Relationship Id="rId517" Type="http://schemas.openxmlformats.org/officeDocument/2006/relationships/slideLayout" Target="../slideLayouts/slideLayout819.xml"/><Relationship Id="rId724" Type="http://schemas.openxmlformats.org/officeDocument/2006/relationships/slideLayout" Target="../slideLayouts/slideLayout1026.xml"/><Relationship Id="rId60" Type="http://schemas.openxmlformats.org/officeDocument/2006/relationships/slideLayout" Target="../slideLayouts/slideLayout362.xml"/><Relationship Id="rId156" Type="http://schemas.openxmlformats.org/officeDocument/2006/relationships/slideLayout" Target="../slideLayouts/slideLayout458.xml"/><Relationship Id="rId363" Type="http://schemas.openxmlformats.org/officeDocument/2006/relationships/slideLayout" Target="../slideLayouts/slideLayout665.xml"/><Relationship Id="rId570" Type="http://schemas.openxmlformats.org/officeDocument/2006/relationships/slideLayout" Target="../slideLayouts/slideLayout872.xml"/><Relationship Id="rId223" Type="http://schemas.openxmlformats.org/officeDocument/2006/relationships/slideLayout" Target="../slideLayouts/slideLayout525.xml"/><Relationship Id="rId430" Type="http://schemas.openxmlformats.org/officeDocument/2006/relationships/slideLayout" Target="../slideLayouts/slideLayout732.xml"/><Relationship Id="rId668" Type="http://schemas.openxmlformats.org/officeDocument/2006/relationships/slideLayout" Target="../slideLayouts/slideLayout970.xml"/><Relationship Id="rId18" Type="http://schemas.openxmlformats.org/officeDocument/2006/relationships/slideLayout" Target="../slideLayouts/slideLayout320.xml"/><Relationship Id="rId528" Type="http://schemas.openxmlformats.org/officeDocument/2006/relationships/slideLayout" Target="../slideLayouts/slideLayout830.xml"/><Relationship Id="rId735" Type="http://schemas.openxmlformats.org/officeDocument/2006/relationships/slideLayout" Target="../slideLayouts/slideLayout1037.xml"/><Relationship Id="rId167" Type="http://schemas.openxmlformats.org/officeDocument/2006/relationships/slideLayout" Target="../slideLayouts/slideLayout469.xml"/><Relationship Id="rId374" Type="http://schemas.openxmlformats.org/officeDocument/2006/relationships/slideLayout" Target="../slideLayouts/slideLayout676.xml"/><Relationship Id="rId581" Type="http://schemas.openxmlformats.org/officeDocument/2006/relationships/slideLayout" Target="../slideLayouts/slideLayout883.xml"/><Relationship Id="rId71" Type="http://schemas.openxmlformats.org/officeDocument/2006/relationships/slideLayout" Target="../slideLayouts/slideLayout373.xml"/><Relationship Id="rId234" Type="http://schemas.openxmlformats.org/officeDocument/2006/relationships/slideLayout" Target="../slideLayouts/slideLayout536.xml"/><Relationship Id="rId679" Type="http://schemas.openxmlformats.org/officeDocument/2006/relationships/slideLayout" Target="../slideLayouts/slideLayout981.xml"/><Relationship Id="rId2" Type="http://schemas.openxmlformats.org/officeDocument/2006/relationships/slideLayout" Target="../slideLayouts/slideLayout304.xml"/><Relationship Id="rId29" Type="http://schemas.openxmlformats.org/officeDocument/2006/relationships/slideLayout" Target="../slideLayouts/slideLayout331.xml"/><Relationship Id="rId441" Type="http://schemas.openxmlformats.org/officeDocument/2006/relationships/slideLayout" Target="../slideLayouts/slideLayout743.xml"/><Relationship Id="rId539" Type="http://schemas.openxmlformats.org/officeDocument/2006/relationships/slideLayout" Target="../slideLayouts/slideLayout841.xml"/><Relationship Id="rId178" Type="http://schemas.openxmlformats.org/officeDocument/2006/relationships/slideLayout" Target="../slideLayouts/slideLayout480.xml"/><Relationship Id="rId301" Type="http://schemas.openxmlformats.org/officeDocument/2006/relationships/slideLayout" Target="../slideLayouts/slideLayout603.xml"/><Relationship Id="rId82" Type="http://schemas.openxmlformats.org/officeDocument/2006/relationships/slideLayout" Target="../slideLayouts/slideLayout384.xml"/><Relationship Id="rId385" Type="http://schemas.openxmlformats.org/officeDocument/2006/relationships/slideLayout" Target="../slideLayouts/slideLayout687.xml"/><Relationship Id="rId592" Type="http://schemas.openxmlformats.org/officeDocument/2006/relationships/slideLayout" Target="../slideLayouts/slideLayout894.xml"/><Relationship Id="rId606" Type="http://schemas.openxmlformats.org/officeDocument/2006/relationships/slideLayout" Target="../slideLayouts/slideLayout908.xml"/><Relationship Id="rId245" Type="http://schemas.openxmlformats.org/officeDocument/2006/relationships/slideLayout" Target="../slideLayouts/slideLayout547.xml"/><Relationship Id="rId452" Type="http://schemas.openxmlformats.org/officeDocument/2006/relationships/slideLayout" Target="../slideLayouts/slideLayout754.xml"/><Relationship Id="rId105" Type="http://schemas.openxmlformats.org/officeDocument/2006/relationships/slideLayout" Target="../slideLayouts/slideLayout407.xml"/><Relationship Id="rId312" Type="http://schemas.openxmlformats.org/officeDocument/2006/relationships/slideLayout" Target="../slideLayouts/slideLayout614.xml"/><Relationship Id="rId93" Type="http://schemas.openxmlformats.org/officeDocument/2006/relationships/slideLayout" Target="../slideLayouts/slideLayout395.xml"/><Relationship Id="rId189" Type="http://schemas.openxmlformats.org/officeDocument/2006/relationships/slideLayout" Target="../slideLayouts/slideLayout491.xml"/><Relationship Id="rId396" Type="http://schemas.openxmlformats.org/officeDocument/2006/relationships/slideLayout" Target="../slideLayouts/slideLayout698.xml"/><Relationship Id="rId617" Type="http://schemas.openxmlformats.org/officeDocument/2006/relationships/slideLayout" Target="../slideLayouts/slideLayout919.xml"/><Relationship Id="rId256" Type="http://schemas.openxmlformats.org/officeDocument/2006/relationships/slideLayout" Target="../slideLayouts/slideLayout558.xml"/><Relationship Id="rId463" Type="http://schemas.openxmlformats.org/officeDocument/2006/relationships/slideLayout" Target="../slideLayouts/slideLayout765.xml"/><Relationship Id="rId670" Type="http://schemas.openxmlformats.org/officeDocument/2006/relationships/slideLayout" Target="../slideLayouts/slideLayout972.xml"/><Relationship Id="rId116" Type="http://schemas.openxmlformats.org/officeDocument/2006/relationships/slideLayout" Target="../slideLayouts/slideLayout418.xml"/><Relationship Id="rId158" Type="http://schemas.openxmlformats.org/officeDocument/2006/relationships/slideLayout" Target="../slideLayouts/slideLayout460.xml"/><Relationship Id="rId323" Type="http://schemas.openxmlformats.org/officeDocument/2006/relationships/slideLayout" Target="../slideLayouts/slideLayout625.xml"/><Relationship Id="rId530" Type="http://schemas.openxmlformats.org/officeDocument/2006/relationships/slideLayout" Target="../slideLayouts/slideLayout832.xml"/><Relationship Id="rId726" Type="http://schemas.openxmlformats.org/officeDocument/2006/relationships/slideLayout" Target="../slideLayouts/slideLayout1028.xml"/><Relationship Id="rId20" Type="http://schemas.openxmlformats.org/officeDocument/2006/relationships/slideLayout" Target="../slideLayouts/slideLayout322.xml"/><Relationship Id="rId62" Type="http://schemas.openxmlformats.org/officeDocument/2006/relationships/slideLayout" Target="../slideLayouts/slideLayout364.xml"/><Relationship Id="rId365" Type="http://schemas.openxmlformats.org/officeDocument/2006/relationships/slideLayout" Target="../slideLayouts/slideLayout667.xml"/><Relationship Id="rId572" Type="http://schemas.openxmlformats.org/officeDocument/2006/relationships/slideLayout" Target="../slideLayouts/slideLayout874.xml"/><Relationship Id="rId628" Type="http://schemas.openxmlformats.org/officeDocument/2006/relationships/slideLayout" Target="../slideLayouts/slideLayout930.xml"/><Relationship Id="rId225" Type="http://schemas.openxmlformats.org/officeDocument/2006/relationships/slideLayout" Target="../slideLayouts/slideLayout527.xml"/><Relationship Id="rId267" Type="http://schemas.openxmlformats.org/officeDocument/2006/relationships/slideLayout" Target="../slideLayouts/slideLayout569.xml"/><Relationship Id="rId432" Type="http://schemas.openxmlformats.org/officeDocument/2006/relationships/slideLayout" Target="../slideLayouts/slideLayout734.xml"/><Relationship Id="rId474" Type="http://schemas.openxmlformats.org/officeDocument/2006/relationships/slideLayout" Target="../slideLayouts/slideLayout776.xml"/><Relationship Id="rId127" Type="http://schemas.openxmlformats.org/officeDocument/2006/relationships/slideLayout" Target="../slideLayouts/slideLayout429.xml"/><Relationship Id="rId681" Type="http://schemas.openxmlformats.org/officeDocument/2006/relationships/slideLayout" Target="../slideLayouts/slideLayout983.xml"/><Relationship Id="rId737" Type="http://schemas.openxmlformats.org/officeDocument/2006/relationships/slideLayout" Target="../slideLayouts/slideLayout1039.xml"/><Relationship Id="rId31" Type="http://schemas.openxmlformats.org/officeDocument/2006/relationships/slideLayout" Target="../slideLayouts/slideLayout333.xml"/><Relationship Id="rId73" Type="http://schemas.openxmlformats.org/officeDocument/2006/relationships/slideLayout" Target="../slideLayouts/slideLayout375.xml"/><Relationship Id="rId169" Type="http://schemas.openxmlformats.org/officeDocument/2006/relationships/slideLayout" Target="../slideLayouts/slideLayout471.xml"/><Relationship Id="rId334" Type="http://schemas.openxmlformats.org/officeDocument/2006/relationships/slideLayout" Target="../slideLayouts/slideLayout636.xml"/><Relationship Id="rId376" Type="http://schemas.openxmlformats.org/officeDocument/2006/relationships/slideLayout" Target="../slideLayouts/slideLayout678.xml"/><Relationship Id="rId541" Type="http://schemas.openxmlformats.org/officeDocument/2006/relationships/slideLayout" Target="../slideLayouts/slideLayout843.xml"/><Relationship Id="rId583" Type="http://schemas.openxmlformats.org/officeDocument/2006/relationships/slideLayout" Target="../slideLayouts/slideLayout885.xml"/><Relationship Id="rId639" Type="http://schemas.openxmlformats.org/officeDocument/2006/relationships/slideLayout" Target="../slideLayouts/slideLayout941.xml"/><Relationship Id="rId4" Type="http://schemas.openxmlformats.org/officeDocument/2006/relationships/slideLayout" Target="../slideLayouts/slideLayout306.xml"/><Relationship Id="rId180" Type="http://schemas.openxmlformats.org/officeDocument/2006/relationships/slideLayout" Target="../slideLayouts/slideLayout482.xml"/><Relationship Id="rId236" Type="http://schemas.openxmlformats.org/officeDocument/2006/relationships/slideLayout" Target="../slideLayouts/slideLayout538.xml"/><Relationship Id="rId278" Type="http://schemas.openxmlformats.org/officeDocument/2006/relationships/slideLayout" Target="../slideLayouts/slideLayout580.xml"/><Relationship Id="rId401" Type="http://schemas.openxmlformats.org/officeDocument/2006/relationships/slideLayout" Target="../slideLayouts/slideLayout703.xml"/><Relationship Id="rId443" Type="http://schemas.openxmlformats.org/officeDocument/2006/relationships/slideLayout" Target="../slideLayouts/slideLayout745.xml"/><Relationship Id="rId650" Type="http://schemas.openxmlformats.org/officeDocument/2006/relationships/slideLayout" Target="../slideLayouts/slideLayout952.xml"/><Relationship Id="rId303" Type="http://schemas.openxmlformats.org/officeDocument/2006/relationships/slideLayout" Target="../slideLayouts/slideLayout605.xml"/><Relationship Id="rId485" Type="http://schemas.openxmlformats.org/officeDocument/2006/relationships/slideLayout" Target="../slideLayouts/slideLayout787.xml"/><Relationship Id="rId692" Type="http://schemas.openxmlformats.org/officeDocument/2006/relationships/slideLayout" Target="../slideLayouts/slideLayout994.xml"/><Relationship Id="rId706" Type="http://schemas.openxmlformats.org/officeDocument/2006/relationships/slideLayout" Target="../slideLayouts/slideLayout1008.xml"/><Relationship Id="rId42" Type="http://schemas.openxmlformats.org/officeDocument/2006/relationships/slideLayout" Target="../slideLayouts/slideLayout344.xml"/><Relationship Id="rId84" Type="http://schemas.openxmlformats.org/officeDocument/2006/relationships/slideLayout" Target="../slideLayouts/slideLayout386.xml"/><Relationship Id="rId138" Type="http://schemas.openxmlformats.org/officeDocument/2006/relationships/slideLayout" Target="../slideLayouts/slideLayout440.xml"/><Relationship Id="rId345" Type="http://schemas.openxmlformats.org/officeDocument/2006/relationships/slideLayout" Target="../slideLayouts/slideLayout647.xml"/><Relationship Id="rId387" Type="http://schemas.openxmlformats.org/officeDocument/2006/relationships/slideLayout" Target="../slideLayouts/slideLayout689.xml"/><Relationship Id="rId510" Type="http://schemas.openxmlformats.org/officeDocument/2006/relationships/slideLayout" Target="../slideLayouts/slideLayout812.xml"/><Relationship Id="rId552" Type="http://schemas.openxmlformats.org/officeDocument/2006/relationships/slideLayout" Target="../slideLayouts/slideLayout854.xml"/><Relationship Id="rId594" Type="http://schemas.openxmlformats.org/officeDocument/2006/relationships/slideLayout" Target="../slideLayouts/slideLayout896.xml"/><Relationship Id="rId608" Type="http://schemas.openxmlformats.org/officeDocument/2006/relationships/slideLayout" Target="../slideLayouts/slideLayout910.xml"/><Relationship Id="rId191" Type="http://schemas.openxmlformats.org/officeDocument/2006/relationships/slideLayout" Target="../slideLayouts/slideLayout493.xml"/><Relationship Id="rId205" Type="http://schemas.openxmlformats.org/officeDocument/2006/relationships/slideLayout" Target="../slideLayouts/slideLayout507.xml"/><Relationship Id="rId247" Type="http://schemas.openxmlformats.org/officeDocument/2006/relationships/slideLayout" Target="../slideLayouts/slideLayout549.xml"/><Relationship Id="rId412" Type="http://schemas.openxmlformats.org/officeDocument/2006/relationships/slideLayout" Target="../slideLayouts/slideLayout714.xml"/><Relationship Id="rId107" Type="http://schemas.openxmlformats.org/officeDocument/2006/relationships/slideLayout" Target="../slideLayouts/slideLayout409.xml"/><Relationship Id="rId289" Type="http://schemas.openxmlformats.org/officeDocument/2006/relationships/slideLayout" Target="../slideLayouts/slideLayout591.xml"/><Relationship Id="rId454" Type="http://schemas.openxmlformats.org/officeDocument/2006/relationships/slideLayout" Target="../slideLayouts/slideLayout756.xml"/><Relationship Id="rId496" Type="http://schemas.openxmlformats.org/officeDocument/2006/relationships/slideLayout" Target="../slideLayouts/slideLayout798.xml"/><Relationship Id="rId661" Type="http://schemas.openxmlformats.org/officeDocument/2006/relationships/slideLayout" Target="../slideLayouts/slideLayout963.xml"/><Relationship Id="rId717" Type="http://schemas.openxmlformats.org/officeDocument/2006/relationships/slideLayout" Target="../slideLayouts/slideLayout1019.xml"/><Relationship Id="rId11" Type="http://schemas.openxmlformats.org/officeDocument/2006/relationships/slideLayout" Target="../slideLayouts/slideLayout313.xml"/><Relationship Id="rId53" Type="http://schemas.openxmlformats.org/officeDocument/2006/relationships/slideLayout" Target="../slideLayouts/slideLayout355.xml"/><Relationship Id="rId149" Type="http://schemas.openxmlformats.org/officeDocument/2006/relationships/slideLayout" Target="../slideLayouts/slideLayout451.xml"/><Relationship Id="rId314" Type="http://schemas.openxmlformats.org/officeDocument/2006/relationships/slideLayout" Target="../slideLayouts/slideLayout616.xml"/><Relationship Id="rId356" Type="http://schemas.openxmlformats.org/officeDocument/2006/relationships/slideLayout" Target="../slideLayouts/slideLayout658.xml"/><Relationship Id="rId398" Type="http://schemas.openxmlformats.org/officeDocument/2006/relationships/slideLayout" Target="../slideLayouts/slideLayout700.xml"/><Relationship Id="rId521" Type="http://schemas.openxmlformats.org/officeDocument/2006/relationships/slideLayout" Target="../slideLayouts/slideLayout823.xml"/><Relationship Id="rId563" Type="http://schemas.openxmlformats.org/officeDocument/2006/relationships/slideLayout" Target="../slideLayouts/slideLayout865.xml"/><Relationship Id="rId619" Type="http://schemas.openxmlformats.org/officeDocument/2006/relationships/slideLayout" Target="../slideLayouts/slideLayout921.xml"/><Relationship Id="rId95" Type="http://schemas.openxmlformats.org/officeDocument/2006/relationships/slideLayout" Target="../slideLayouts/slideLayout397.xml"/><Relationship Id="rId160" Type="http://schemas.openxmlformats.org/officeDocument/2006/relationships/slideLayout" Target="../slideLayouts/slideLayout462.xml"/><Relationship Id="rId216" Type="http://schemas.openxmlformats.org/officeDocument/2006/relationships/slideLayout" Target="../slideLayouts/slideLayout518.xml"/><Relationship Id="rId423" Type="http://schemas.openxmlformats.org/officeDocument/2006/relationships/slideLayout" Target="../slideLayouts/slideLayout725.xml"/><Relationship Id="rId258" Type="http://schemas.openxmlformats.org/officeDocument/2006/relationships/slideLayout" Target="../slideLayouts/slideLayout560.xml"/><Relationship Id="rId465" Type="http://schemas.openxmlformats.org/officeDocument/2006/relationships/slideLayout" Target="../slideLayouts/slideLayout767.xml"/><Relationship Id="rId630" Type="http://schemas.openxmlformats.org/officeDocument/2006/relationships/slideLayout" Target="../slideLayouts/slideLayout932.xml"/><Relationship Id="rId672" Type="http://schemas.openxmlformats.org/officeDocument/2006/relationships/slideLayout" Target="../slideLayouts/slideLayout974.xml"/><Relationship Id="rId728" Type="http://schemas.openxmlformats.org/officeDocument/2006/relationships/slideLayout" Target="../slideLayouts/slideLayout1030.xml"/><Relationship Id="rId22" Type="http://schemas.openxmlformats.org/officeDocument/2006/relationships/slideLayout" Target="../slideLayouts/slideLayout324.xml"/><Relationship Id="rId64" Type="http://schemas.openxmlformats.org/officeDocument/2006/relationships/slideLayout" Target="../slideLayouts/slideLayout366.xml"/><Relationship Id="rId118" Type="http://schemas.openxmlformats.org/officeDocument/2006/relationships/slideLayout" Target="../slideLayouts/slideLayout420.xml"/><Relationship Id="rId325" Type="http://schemas.openxmlformats.org/officeDocument/2006/relationships/slideLayout" Target="../slideLayouts/slideLayout627.xml"/><Relationship Id="rId367" Type="http://schemas.openxmlformats.org/officeDocument/2006/relationships/slideLayout" Target="../slideLayouts/slideLayout669.xml"/><Relationship Id="rId532" Type="http://schemas.openxmlformats.org/officeDocument/2006/relationships/slideLayout" Target="../slideLayouts/slideLayout834.xml"/><Relationship Id="rId574" Type="http://schemas.openxmlformats.org/officeDocument/2006/relationships/slideLayout" Target="../slideLayouts/slideLayout876.xml"/><Relationship Id="rId171" Type="http://schemas.openxmlformats.org/officeDocument/2006/relationships/slideLayout" Target="../slideLayouts/slideLayout473.xml"/><Relationship Id="rId227" Type="http://schemas.openxmlformats.org/officeDocument/2006/relationships/slideLayout" Target="../slideLayouts/slideLayout529.xml"/><Relationship Id="rId269" Type="http://schemas.openxmlformats.org/officeDocument/2006/relationships/slideLayout" Target="../slideLayouts/slideLayout571.xml"/><Relationship Id="rId434" Type="http://schemas.openxmlformats.org/officeDocument/2006/relationships/slideLayout" Target="../slideLayouts/slideLayout736.xml"/><Relationship Id="rId476" Type="http://schemas.openxmlformats.org/officeDocument/2006/relationships/slideLayout" Target="../slideLayouts/slideLayout778.xml"/><Relationship Id="rId641" Type="http://schemas.openxmlformats.org/officeDocument/2006/relationships/slideLayout" Target="../slideLayouts/slideLayout943.xml"/><Relationship Id="rId683" Type="http://schemas.openxmlformats.org/officeDocument/2006/relationships/slideLayout" Target="../slideLayouts/slideLayout985.xml"/><Relationship Id="rId739" Type="http://schemas.openxmlformats.org/officeDocument/2006/relationships/slideLayout" Target="../slideLayouts/slideLayout1041.xml"/><Relationship Id="rId33" Type="http://schemas.openxmlformats.org/officeDocument/2006/relationships/slideLayout" Target="../slideLayouts/slideLayout335.xml"/><Relationship Id="rId129" Type="http://schemas.openxmlformats.org/officeDocument/2006/relationships/slideLayout" Target="../slideLayouts/slideLayout431.xml"/><Relationship Id="rId280" Type="http://schemas.openxmlformats.org/officeDocument/2006/relationships/slideLayout" Target="../slideLayouts/slideLayout582.xml"/><Relationship Id="rId336" Type="http://schemas.openxmlformats.org/officeDocument/2006/relationships/slideLayout" Target="../slideLayouts/slideLayout638.xml"/><Relationship Id="rId501" Type="http://schemas.openxmlformats.org/officeDocument/2006/relationships/slideLayout" Target="../slideLayouts/slideLayout803.xml"/><Relationship Id="rId543" Type="http://schemas.openxmlformats.org/officeDocument/2006/relationships/slideLayout" Target="../slideLayouts/slideLayout845.xml"/><Relationship Id="rId75" Type="http://schemas.openxmlformats.org/officeDocument/2006/relationships/slideLayout" Target="../slideLayouts/slideLayout377.xml"/><Relationship Id="rId140" Type="http://schemas.openxmlformats.org/officeDocument/2006/relationships/slideLayout" Target="../slideLayouts/slideLayout442.xml"/><Relationship Id="rId182" Type="http://schemas.openxmlformats.org/officeDocument/2006/relationships/slideLayout" Target="../slideLayouts/slideLayout484.xml"/><Relationship Id="rId378" Type="http://schemas.openxmlformats.org/officeDocument/2006/relationships/slideLayout" Target="../slideLayouts/slideLayout680.xml"/><Relationship Id="rId403" Type="http://schemas.openxmlformats.org/officeDocument/2006/relationships/slideLayout" Target="../slideLayouts/slideLayout705.xml"/><Relationship Id="rId585" Type="http://schemas.openxmlformats.org/officeDocument/2006/relationships/slideLayout" Target="../slideLayouts/slideLayout887.xml"/><Relationship Id="rId6" Type="http://schemas.openxmlformats.org/officeDocument/2006/relationships/slideLayout" Target="../slideLayouts/slideLayout308.xml"/><Relationship Id="rId238" Type="http://schemas.openxmlformats.org/officeDocument/2006/relationships/slideLayout" Target="../slideLayouts/slideLayout540.xml"/><Relationship Id="rId445" Type="http://schemas.openxmlformats.org/officeDocument/2006/relationships/slideLayout" Target="../slideLayouts/slideLayout747.xml"/><Relationship Id="rId487" Type="http://schemas.openxmlformats.org/officeDocument/2006/relationships/slideLayout" Target="../slideLayouts/slideLayout789.xml"/><Relationship Id="rId610" Type="http://schemas.openxmlformats.org/officeDocument/2006/relationships/slideLayout" Target="../slideLayouts/slideLayout912.xml"/><Relationship Id="rId652" Type="http://schemas.openxmlformats.org/officeDocument/2006/relationships/slideLayout" Target="../slideLayouts/slideLayout954.xml"/><Relationship Id="rId694" Type="http://schemas.openxmlformats.org/officeDocument/2006/relationships/slideLayout" Target="../slideLayouts/slideLayout996.xml"/><Relationship Id="rId708" Type="http://schemas.openxmlformats.org/officeDocument/2006/relationships/slideLayout" Target="../slideLayouts/slideLayout1010.xml"/><Relationship Id="rId291" Type="http://schemas.openxmlformats.org/officeDocument/2006/relationships/slideLayout" Target="../slideLayouts/slideLayout593.xml"/><Relationship Id="rId305" Type="http://schemas.openxmlformats.org/officeDocument/2006/relationships/slideLayout" Target="../slideLayouts/slideLayout607.xml"/><Relationship Id="rId347" Type="http://schemas.openxmlformats.org/officeDocument/2006/relationships/slideLayout" Target="../slideLayouts/slideLayout649.xml"/><Relationship Id="rId512" Type="http://schemas.openxmlformats.org/officeDocument/2006/relationships/slideLayout" Target="../slideLayouts/slideLayout814.xml"/><Relationship Id="rId44" Type="http://schemas.openxmlformats.org/officeDocument/2006/relationships/slideLayout" Target="../slideLayouts/slideLayout346.xml"/><Relationship Id="rId86" Type="http://schemas.openxmlformats.org/officeDocument/2006/relationships/slideLayout" Target="../slideLayouts/slideLayout388.xml"/><Relationship Id="rId151" Type="http://schemas.openxmlformats.org/officeDocument/2006/relationships/slideLayout" Target="../slideLayouts/slideLayout453.xml"/><Relationship Id="rId389" Type="http://schemas.openxmlformats.org/officeDocument/2006/relationships/slideLayout" Target="../slideLayouts/slideLayout691.xml"/><Relationship Id="rId554" Type="http://schemas.openxmlformats.org/officeDocument/2006/relationships/slideLayout" Target="../slideLayouts/slideLayout856.xml"/><Relationship Id="rId596" Type="http://schemas.openxmlformats.org/officeDocument/2006/relationships/slideLayout" Target="../slideLayouts/slideLayout898.xml"/><Relationship Id="rId193" Type="http://schemas.openxmlformats.org/officeDocument/2006/relationships/slideLayout" Target="../slideLayouts/slideLayout495.xml"/><Relationship Id="rId207" Type="http://schemas.openxmlformats.org/officeDocument/2006/relationships/slideLayout" Target="../slideLayouts/slideLayout509.xml"/><Relationship Id="rId249" Type="http://schemas.openxmlformats.org/officeDocument/2006/relationships/slideLayout" Target="../slideLayouts/slideLayout551.xml"/><Relationship Id="rId414" Type="http://schemas.openxmlformats.org/officeDocument/2006/relationships/slideLayout" Target="../slideLayouts/slideLayout716.xml"/><Relationship Id="rId456" Type="http://schemas.openxmlformats.org/officeDocument/2006/relationships/slideLayout" Target="../slideLayouts/slideLayout758.xml"/><Relationship Id="rId498" Type="http://schemas.openxmlformats.org/officeDocument/2006/relationships/slideLayout" Target="../slideLayouts/slideLayout800.xml"/><Relationship Id="rId621" Type="http://schemas.openxmlformats.org/officeDocument/2006/relationships/slideLayout" Target="../slideLayouts/slideLayout923.xml"/><Relationship Id="rId663" Type="http://schemas.openxmlformats.org/officeDocument/2006/relationships/slideLayout" Target="../slideLayouts/slideLayout965.xml"/><Relationship Id="rId13" Type="http://schemas.openxmlformats.org/officeDocument/2006/relationships/slideLayout" Target="../slideLayouts/slideLayout315.xml"/><Relationship Id="rId109" Type="http://schemas.openxmlformats.org/officeDocument/2006/relationships/slideLayout" Target="../slideLayouts/slideLayout411.xml"/><Relationship Id="rId260" Type="http://schemas.openxmlformats.org/officeDocument/2006/relationships/slideLayout" Target="../slideLayouts/slideLayout562.xml"/><Relationship Id="rId316" Type="http://schemas.openxmlformats.org/officeDocument/2006/relationships/slideLayout" Target="../slideLayouts/slideLayout618.xml"/><Relationship Id="rId523" Type="http://schemas.openxmlformats.org/officeDocument/2006/relationships/slideLayout" Target="../slideLayouts/slideLayout825.xml"/><Relationship Id="rId719" Type="http://schemas.openxmlformats.org/officeDocument/2006/relationships/slideLayout" Target="../slideLayouts/slideLayout1021.xml"/><Relationship Id="rId55" Type="http://schemas.openxmlformats.org/officeDocument/2006/relationships/slideLayout" Target="../slideLayouts/slideLayout357.xml"/><Relationship Id="rId97" Type="http://schemas.openxmlformats.org/officeDocument/2006/relationships/slideLayout" Target="../slideLayouts/slideLayout399.xml"/><Relationship Id="rId120" Type="http://schemas.openxmlformats.org/officeDocument/2006/relationships/slideLayout" Target="../slideLayouts/slideLayout422.xml"/><Relationship Id="rId358" Type="http://schemas.openxmlformats.org/officeDocument/2006/relationships/slideLayout" Target="../slideLayouts/slideLayout660.xml"/><Relationship Id="rId565" Type="http://schemas.openxmlformats.org/officeDocument/2006/relationships/slideLayout" Target="../slideLayouts/slideLayout867.xml"/><Relationship Id="rId730" Type="http://schemas.openxmlformats.org/officeDocument/2006/relationships/slideLayout" Target="../slideLayouts/slideLayout1032.xml"/><Relationship Id="rId162" Type="http://schemas.openxmlformats.org/officeDocument/2006/relationships/slideLayout" Target="../slideLayouts/slideLayout464.xml"/><Relationship Id="rId218" Type="http://schemas.openxmlformats.org/officeDocument/2006/relationships/slideLayout" Target="../slideLayouts/slideLayout520.xml"/><Relationship Id="rId425" Type="http://schemas.openxmlformats.org/officeDocument/2006/relationships/slideLayout" Target="../slideLayouts/slideLayout727.xml"/><Relationship Id="rId467" Type="http://schemas.openxmlformats.org/officeDocument/2006/relationships/slideLayout" Target="../slideLayouts/slideLayout769.xml"/><Relationship Id="rId632" Type="http://schemas.openxmlformats.org/officeDocument/2006/relationships/slideLayout" Target="../slideLayouts/slideLayout934.xml"/><Relationship Id="rId271" Type="http://schemas.openxmlformats.org/officeDocument/2006/relationships/slideLayout" Target="../slideLayouts/slideLayout573.xml"/><Relationship Id="rId674" Type="http://schemas.openxmlformats.org/officeDocument/2006/relationships/slideLayout" Target="../slideLayouts/slideLayout976.xml"/><Relationship Id="rId24" Type="http://schemas.openxmlformats.org/officeDocument/2006/relationships/slideLayout" Target="../slideLayouts/slideLayout326.xml"/><Relationship Id="rId66" Type="http://schemas.openxmlformats.org/officeDocument/2006/relationships/slideLayout" Target="../slideLayouts/slideLayout368.xml"/><Relationship Id="rId131" Type="http://schemas.openxmlformats.org/officeDocument/2006/relationships/slideLayout" Target="../slideLayouts/slideLayout433.xml"/><Relationship Id="rId327" Type="http://schemas.openxmlformats.org/officeDocument/2006/relationships/slideLayout" Target="../slideLayouts/slideLayout629.xml"/><Relationship Id="rId369" Type="http://schemas.openxmlformats.org/officeDocument/2006/relationships/slideLayout" Target="../slideLayouts/slideLayout671.xml"/><Relationship Id="rId534" Type="http://schemas.openxmlformats.org/officeDocument/2006/relationships/slideLayout" Target="../slideLayouts/slideLayout836.xml"/><Relationship Id="rId576" Type="http://schemas.openxmlformats.org/officeDocument/2006/relationships/slideLayout" Target="../slideLayouts/slideLayout878.xml"/><Relationship Id="rId741" Type="http://schemas.openxmlformats.org/officeDocument/2006/relationships/slideLayout" Target="../slideLayouts/slideLayout1043.xml"/><Relationship Id="rId173" Type="http://schemas.openxmlformats.org/officeDocument/2006/relationships/slideLayout" Target="../slideLayouts/slideLayout475.xml"/><Relationship Id="rId229" Type="http://schemas.openxmlformats.org/officeDocument/2006/relationships/slideLayout" Target="../slideLayouts/slideLayout531.xml"/><Relationship Id="rId380" Type="http://schemas.openxmlformats.org/officeDocument/2006/relationships/slideLayout" Target="../slideLayouts/slideLayout682.xml"/><Relationship Id="rId436" Type="http://schemas.openxmlformats.org/officeDocument/2006/relationships/slideLayout" Target="../slideLayouts/slideLayout738.xml"/><Relationship Id="rId601" Type="http://schemas.openxmlformats.org/officeDocument/2006/relationships/slideLayout" Target="../slideLayouts/slideLayout903.xml"/><Relationship Id="rId643" Type="http://schemas.openxmlformats.org/officeDocument/2006/relationships/slideLayout" Target="../slideLayouts/slideLayout945.xml"/><Relationship Id="rId240" Type="http://schemas.openxmlformats.org/officeDocument/2006/relationships/slideLayout" Target="../slideLayouts/slideLayout542.xml"/><Relationship Id="rId478" Type="http://schemas.openxmlformats.org/officeDocument/2006/relationships/slideLayout" Target="../slideLayouts/slideLayout780.xml"/><Relationship Id="rId685" Type="http://schemas.openxmlformats.org/officeDocument/2006/relationships/slideLayout" Target="../slideLayouts/slideLayout987.xml"/><Relationship Id="rId35" Type="http://schemas.openxmlformats.org/officeDocument/2006/relationships/slideLayout" Target="../slideLayouts/slideLayout337.xml"/><Relationship Id="rId77" Type="http://schemas.openxmlformats.org/officeDocument/2006/relationships/slideLayout" Target="../slideLayouts/slideLayout379.xml"/><Relationship Id="rId100" Type="http://schemas.openxmlformats.org/officeDocument/2006/relationships/slideLayout" Target="../slideLayouts/slideLayout402.xml"/><Relationship Id="rId282" Type="http://schemas.openxmlformats.org/officeDocument/2006/relationships/slideLayout" Target="../slideLayouts/slideLayout584.xml"/><Relationship Id="rId338" Type="http://schemas.openxmlformats.org/officeDocument/2006/relationships/slideLayout" Target="../slideLayouts/slideLayout640.xml"/><Relationship Id="rId503" Type="http://schemas.openxmlformats.org/officeDocument/2006/relationships/slideLayout" Target="../slideLayouts/slideLayout805.xml"/><Relationship Id="rId545" Type="http://schemas.openxmlformats.org/officeDocument/2006/relationships/slideLayout" Target="../slideLayouts/slideLayout847.xml"/><Relationship Id="rId587" Type="http://schemas.openxmlformats.org/officeDocument/2006/relationships/slideLayout" Target="../slideLayouts/slideLayout889.xml"/><Relationship Id="rId710" Type="http://schemas.openxmlformats.org/officeDocument/2006/relationships/slideLayout" Target="../slideLayouts/slideLayout1012.xml"/><Relationship Id="rId8" Type="http://schemas.openxmlformats.org/officeDocument/2006/relationships/slideLayout" Target="../slideLayouts/slideLayout310.xml"/><Relationship Id="rId142" Type="http://schemas.openxmlformats.org/officeDocument/2006/relationships/slideLayout" Target="../slideLayouts/slideLayout444.xml"/><Relationship Id="rId184" Type="http://schemas.openxmlformats.org/officeDocument/2006/relationships/slideLayout" Target="../slideLayouts/slideLayout486.xml"/><Relationship Id="rId391" Type="http://schemas.openxmlformats.org/officeDocument/2006/relationships/slideLayout" Target="../slideLayouts/slideLayout693.xml"/><Relationship Id="rId405" Type="http://schemas.openxmlformats.org/officeDocument/2006/relationships/slideLayout" Target="../slideLayouts/slideLayout707.xml"/><Relationship Id="rId447" Type="http://schemas.openxmlformats.org/officeDocument/2006/relationships/slideLayout" Target="../slideLayouts/slideLayout749.xml"/><Relationship Id="rId612" Type="http://schemas.openxmlformats.org/officeDocument/2006/relationships/slideLayout" Target="../slideLayouts/slideLayout914.xml"/><Relationship Id="rId251" Type="http://schemas.openxmlformats.org/officeDocument/2006/relationships/slideLayout" Target="../slideLayouts/slideLayout553.xml"/><Relationship Id="rId489" Type="http://schemas.openxmlformats.org/officeDocument/2006/relationships/slideLayout" Target="../slideLayouts/slideLayout791.xml"/><Relationship Id="rId654" Type="http://schemas.openxmlformats.org/officeDocument/2006/relationships/slideLayout" Target="../slideLayouts/slideLayout956.xml"/><Relationship Id="rId696" Type="http://schemas.openxmlformats.org/officeDocument/2006/relationships/slideLayout" Target="../slideLayouts/slideLayout998.xml"/><Relationship Id="rId46" Type="http://schemas.openxmlformats.org/officeDocument/2006/relationships/slideLayout" Target="../slideLayouts/slideLayout348.xml"/><Relationship Id="rId293" Type="http://schemas.openxmlformats.org/officeDocument/2006/relationships/slideLayout" Target="../slideLayouts/slideLayout595.xml"/><Relationship Id="rId307" Type="http://schemas.openxmlformats.org/officeDocument/2006/relationships/slideLayout" Target="../slideLayouts/slideLayout609.xml"/><Relationship Id="rId349" Type="http://schemas.openxmlformats.org/officeDocument/2006/relationships/slideLayout" Target="../slideLayouts/slideLayout651.xml"/><Relationship Id="rId514" Type="http://schemas.openxmlformats.org/officeDocument/2006/relationships/slideLayout" Target="../slideLayouts/slideLayout816.xml"/><Relationship Id="rId556" Type="http://schemas.openxmlformats.org/officeDocument/2006/relationships/slideLayout" Target="../slideLayouts/slideLayout858.xml"/><Relationship Id="rId721" Type="http://schemas.openxmlformats.org/officeDocument/2006/relationships/slideLayout" Target="../slideLayouts/slideLayout1023.xml"/><Relationship Id="rId88" Type="http://schemas.openxmlformats.org/officeDocument/2006/relationships/slideLayout" Target="../slideLayouts/slideLayout390.xml"/><Relationship Id="rId111" Type="http://schemas.openxmlformats.org/officeDocument/2006/relationships/slideLayout" Target="../slideLayouts/slideLayout413.xml"/><Relationship Id="rId153" Type="http://schemas.openxmlformats.org/officeDocument/2006/relationships/slideLayout" Target="../slideLayouts/slideLayout455.xml"/><Relationship Id="rId195" Type="http://schemas.openxmlformats.org/officeDocument/2006/relationships/slideLayout" Target="../slideLayouts/slideLayout497.xml"/><Relationship Id="rId209" Type="http://schemas.openxmlformats.org/officeDocument/2006/relationships/slideLayout" Target="../slideLayouts/slideLayout511.xml"/><Relationship Id="rId360" Type="http://schemas.openxmlformats.org/officeDocument/2006/relationships/slideLayout" Target="../slideLayouts/slideLayout662.xml"/><Relationship Id="rId416" Type="http://schemas.openxmlformats.org/officeDocument/2006/relationships/slideLayout" Target="../slideLayouts/slideLayout718.xml"/><Relationship Id="rId598" Type="http://schemas.openxmlformats.org/officeDocument/2006/relationships/slideLayout" Target="../slideLayouts/slideLayout900.xml"/><Relationship Id="rId220" Type="http://schemas.openxmlformats.org/officeDocument/2006/relationships/slideLayout" Target="../slideLayouts/slideLayout522.xml"/><Relationship Id="rId458" Type="http://schemas.openxmlformats.org/officeDocument/2006/relationships/slideLayout" Target="../slideLayouts/slideLayout760.xml"/><Relationship Id="rId623" Type="http://schemas.openxmlformats.org/officeDocument/2006/relationships/slideLayout" Target="../slideLayouts/slideLayout925.xml"/><Relationship Id="rId665" Type="http://schemas.openxmlformats.org/officeDocument/2006/relationships/slideLayout" Target="../slideLayouts/slideLayout967.xml"/><Relationship Id="rId15" Type="http://schemas.openxmlformats.org/officeDocument/2006/relationships/slideLayout" Target="../slideLayouts/slideLayout317.xml"/><Relationship Id="rId57" Type="http://schemas.openxmlformats.org/officeDocument/2006/relationships/slideLayout" Target="../slideLayouts/slideLayout359.xml"/><Relationship Id="rId262" Type="http://schemas.openxmlformats.org/officeDocument/2006/relationships/slideLayout" Target="../slideLayouts/slideLayout564.xml"/><Relationship Id="rId318" Type="http://schemas.openxmlformats.org/officeDocument/2006/relationships/slideLayout" Target="../slideLayouts/slideLayout620.xml"/><Relationship Id="rId525" Type="http://schemas.openxmlformats.org/officeDocument/2006/relationships/slideLayout" Target="../slideLayouts/slideLayout827.xml"/><Relationship Id="rId567" Type="http://schemas.openxmlformats.org/officeDocument/2006/relationships/slideLayout" Target="../slideLayouts/slideLayout869.xml"/><Relationship Id="rId732" Type="http://schemas.openxmlformats.org/officeDocument/2006/relationships/slideLayout" Target="../slideLayouts/slideLayout1034.xml"/><Relationship Id="rId99" Type="http://schemas.openxmlformats.org/officeDocument/2006/relationships/slideLayout" Target="../slideLayouts/slideLayout401.xml"/><Relationship Id="rId122" Type="http://schemas.openxmlformats.org/officeDocument/2006/relationships/slideLayout" Target="../slideLayouts/slideLayout424.xml"/><Relationship Id="rId164" Type="http://schemas.openxmlformats.org/officeDocument/2006/relationships/slideLayout" Target="../slideLayouts/slideLayout466.xml"/><Relationship Id="rId371" Type="http://schemas.openxmlformats.org/officeDocument/2006/relationships/slideLayout" Target="../slideLayouts/slideLayout673.xml"/><Relationship Id="rId427" Type="http://schemas.openxmlformats.org/officeDocument/2006/relationships/slideLayout" Target="../slideLayouts/slideLayout729.xml"/><Relationship Id="rId469" Type="http://schemas.openxmlformats.org/officeDocument/2006/relationships/slideLayout" Target="../slideLayouts/slideLayout771.xml"/><Relationship Id="rId634" Type="http://schemas.openxmlformats.org/officeDocument/2006/relationships/slideLayout" Target="../slideLayouts/slideLayout936.xml"/><Relationship Id="rId676" Type="http://schemas.openxmlformats.org/officeDocument/2006/relationships/slideLayout" Target="../slideLayouts/slideLayout978.xml"/><Relationship Id="rId26" Type="http://schemas.openxmlformats.org/officeDocument/2006/relationships/slideLayout" Target="../slideLayouts/slideLayout328.xml"/><Relationship Id="rId231" Type="http://schemas.openxmlformats.org/officeDocument/2006/relationships/slideLayout" Target="../slideLayouts/slideLayout533.xml"/><Relationship Id="rId273" Type="http://schemas.openxmlformats.org/officeDocument/2006/relationships/slideLayout" Target="../slideLayouts/slideLayout575.xml"/><Relationship Id="rId329" Type="http://schemas.openxmlformats.org/officeDocument/2006/relationships/slideLayout" Target="../slideLayouts/slideLayout631.xml"/><Relationship Id="rId480" Type="http://schemas.openxmlformats.org/officeDocument/2006/relationships/slideLayout" Target="../slideLayouts/slideLayout782.xml"/><Relationship Id="rId536" Type="http://schemas.openxmlformats.org/officeDocument/2006/relationships/slideLayout" Target="../slideLayouts/slideLayout838.xml"/><Relationship Id="rId701" Type="http://schemas.openxmlformats.org/officeDocument/2006/relationships/slideLayout" Target="../slideLayouts/slideLayout1003.xml"/><Relationship Id="rId68" Type="http://schemas.openxmlformats.org/officeDocument/2006/relationships/slideLayout" Target="../slideLayouts/slideLayout370.xml"/><Relationship Id="rId133" Type="http://schemas.openxmlformats.org/officeDocument/2006/relationships/slideLayout" Target="../slideLayouts/slideLayout435.xml"/><Relationship Id="rId175" Type="http://schemas.openxmlformats.org/officeDocument/2006/relationships/slideLayout" Target="../slideLayouts/slideLayout477.xml"/><Relationship Id="rId340" Type="http://schemas.openxmlformats.org/officeDocument/2006/relationships/slideLayout" Target="../slideLayouts/slideLayout642.xml"/><Relationship Id="rId578" Type="http://schemas.openxmlformats.org/officeDocument/2006/relationships/slideLayout" Target="../slideLayouts/slideLayout880.xml"/><Relationship Id="rId743" Type="http://schemas.openxmlformats.org/officeDocument/2006/relationships/slideLayout" Target="../slideLayouts/slideLayout1045.xml"/><Relationship Id="rId200" Type="http://schemas.openxmlformats.org/officeDocument/2006/relationships/slideLayout" Target="../slideLayouts/slideLayout502.xml"/><Relationship Id="rId382" Type="http://schemas.openxmlformats.org/officeDocument/2006/relationships/slideLayout" Target="../slideLayouts/slideLayout684.xml"/><Relationship Id="rId438" Type="http://schemas.openxmlformats.org/officeDocument/2006/relationships/slideLayout" Target="../slideLayouts/slideLayout740.xml"/><Relationship Id="rId603" Type="http://schemas.openxmlformats.org/officeDocument/2006/relationships/slideLayout" Target="../slideLayouts/slideLayout905.xml"/><Relationship Id="rId645" Type="http://schemas.openxmlformats.org/officeDocument/2006/relationships/slideLayout" Target="../slideLayouts/slideLayout947.xml"/><Relationship Id="rId687" Type="http://schemas.openxmlformats.org/officeDocument/2006/relationships/slideLayout" Target="../slideLayouts/slideLayout989.xml"/><Relationship Id="rId242" Type="http://schemas.openxmlformats.org/officeDocument/2006/relationships/slideLayout" Target="../slideLayouts/slideLayout544.xml"/><Relationship Id="rId284" Type="http://schemas.openxmlformats.org/officeDocument/2006/relationships/slideLayout" Target="../slideLayouts/slideLayout586.xml"/><Relationship Id="rId491" Type="http://schemas.openxmlformats.org/officeDocument/2006/relationships/slideLayout" Target="../slideLayouts/slideLayout793.xml"/><Relationship Id="rId505" Type="http://schemas.openxmlformats.org/officeDocument/2006/relationships/slideLayout" Target="../slideLayouts/slideLayout807.xml"/><Relationship Id="rId712" Type="http://schemas.openxmlformats.org/officeDocument/2006/relationships/slideLayout" Target="../slideLayouts/slideLayout1014.xml"/><Relationship Id="rId37" Type="http://schemas.openxmlformats.org/officeDocument/2006/relationships/slideLayout" Target="../slideLayouts/slideLayout339.xml"/><Relationship Id="rId79" Type="http://schemas.openxmlformats.org/officeDocument/2006/relationships/slideLayout" Target="../slideLayouts/slideLayout381.xml"/><Relationship Id="rId102" Type="http://schemas.openxmlformats.org/officeDocument/2006/relationships/slideLayout" Target="../slideLayouts/slideLayout404.xml"/><Relationship Id="rId144" Type="http://schemas.openxmlformats.org/officeDocument/2006/relationships/slideLayout" Target="../slideLayouts/slideLayout446.xml"/><Relationship Id="rId547" Type="http://schemas.openxmlformats.org/officeDocument/2006/relationships/slideLayout" Target="../slideLayouts/slideLayout849.xml"/><Relationship Id="rId589" Type="http://schemas.openxmlformats.org/officeDocument/2006/relationships/slideLayout" Target="../slideLayouts/slideLayout891.xml"/><Relationship Id="rId90" Type="http://schemas.openxmlformats.org/officeDocument/2006/relationships/slideLayout" Target="../slideLayouts/slideLayout392.xml"/><Relationship Id="rId186" Type="http://schemas.openxmlformats.org/officeDocument/2006/relationships/slideLayout" Target="../slideLayouts/slideLayout488.xml"/><Relationship Id="rId351" Type="http://schemas.openxmlformats.org/officeDocument/2006/relationships/slideLayout" Target="../slideLayouts/slideLayout653.xml"/><Relationship Id="rId393" Type="http://schemas.openxmlformats.org/officeDocument/2006/relationships/slideLayout" Target="../slideLayouts/slideLayout695.xml"/><Relationship Id="rId407" Type="http://schemas.openxmlformats.org/officeDocument/2006/relationships/slideLayout" Target="../slideLayouts/slideLayout709.xml"/><Relationship Id="rId449" Type="http://schemas.openxmlformats.org/officeDocument/2006/relationships/slideLayout" Target="../slideLayouts/slideLayout751.xml"/><Relationship Id="rId614" Type="http://schemas.openxmlformats.org/officeDocument/2006/relationships/slideLayout" Target="../slideLayouts/slideLayout916.xml"/><Relationship Id="rId656" Type="http://schemas.openxmlformats.org/officeDocument/2006/relationships/slideLayout" Target="../slideLayouts/slideLayout958.xml"/><Relationship Id="rId211" Type="http://schemas.openxmlformats.org/officeDocument/2006/relationships/slideLayout" Target="../slideLayouts/slideLayout513.xml"/><Relationship Id="rId253" Type="http://schemas.openxmlformats.org/officeDocument/2006/relationships/slideLayout" Target="../slideLayouts/slideLayout555.xml"/><Relationship Id="rId295" Type="http://schemas.openxmlformats.org/officeDocument/2006/relationships/slideLayout" Target="../slideLayouts/slideLayout597.xml"/><Relationship Id="rId309" Type="http://schemas.openxmlformats.org/officeDocument/2006/relationships/slideLayout" Target="../slideLayouts/slideLayout611.xml"/><Relationship Id="rId460" Type="http://schemas.openxmlformats.org/officeDocument/2006/relationships/slideLayout" Target="../slideLayouts/slideLayout762.xml"/><Relationship Id="rId516" Type="http://schemas.openxmlformats.org/officeDocument/2006/relationships/slideLayout" Target="../slideLayouts/slideLayout818.xml"/><Relationship Id="rId698" Type="http://schemas.openxmlformats.org/officeDocument/2006/relationships/slideLayout" Target="../slideLayouts/slideLayout1000.xml"/><Relationship Id="rId48" Type="http://schemas.openxmlformats.org/officeDocument/2006/relationships/slideLayout" Target="../slideLayouts/slideLayout350.xml"/><Relationship Id="rId113" Type="http://schemas.openxmlformats.org/officeDocument/2006/relationships/slideLayout" Target="../slideLayouts/slideLayout415.xml"/><Relationship Id="rId320" Type="http://schemas.openxmlformats.org/officeDocument/2006/relationships/slideLayout" Target="../slideLayouts/slideLayout622.xml"/><Relationship Id="rId558" Type="http://schemas.openxmlformats.org/officeDocument/2006/relationships/slideLayout" Target="../slideLayouts/slideLayout860.xml"/><Relationship Id="rId723" Type="http://schemas.openxmlformats.org/officeDocument/2006/relationships/slideLayout" Target="../slideLayouts/slideLayout1025.xml"/><Relationship Id="rId155" Type="http://schemas.openxmlformats.org/officeDocument/2006/relationships/slideLayout" Target="../slideLayouts/slideLayout457.xml"/><Relationship Id="rId197" Type="http://schemas.openxmlformats.org/officeDocument/2006/relationships/slideLayout" Target="../slideLayouts/slideLayout499.xml"/><Relationship Id="rId362" Type="http://schemas.openxmlformats.org/officeDocument/2006/relationships/slideLayout" Target="../slideLayouts/slideLayout664.xml"/><Relationship Id="rId418" Type="http://schemas.openxmlformats.org/officeDocument/2006/relationships/slideLayout" Target="../slideLayouts/slideLayout720.xml"/><Relationship Id="rId625" Type="http://schemas.openxmlformats.org/officeDocument/2006/relationships/slideLayout" Target="../slideLayouts/slideLayout927.xml"/><Relationship Id="rId222" Type="http://schemas.openxmlformats.org/officeDocument/2006/relationships/slideLayout" Target="../slideLayouts/slideLayout524.xml"/><Relationship Id="rId264" Type="http://schemas.openxmlformats.org/officeDocument/2006/relationships/slideLayout" Target="../slideLayouts/slideLayout566.xml"/><Relationship Id="rId471" Type="http://schemas.openxmlformats.org/officeDocument/2006/relationships/slideLayout" Target="../slideLayouts/slideLayout773.xml"/><Relationship Id="rId667" Type="http://schemas.openxmlformats.org/officeDocument/2006/relationships/slideLayout" Target="../slideLayouts/slideLayout969.xml"/><Relationship Id="rId17" Type="http://schemas.openxmlformats.org/officeDocument/2006/relationships/slideLayout" Target="../slideLayouts/slideLayout319.xml"/><Relationship Id="rId59" Type="http://schemas.openxmlformats.org/officeDocument/2006/relationships/slideLayout" Target="../slideLayouts/slideLayout361.xml"/><Relationship Id="rId124" Type="http://schemas.openxmlformats.org/officeDocument/2006/relationships/slideLayout" Target="../slideLayouts/slideLayout426.xml"/><Relationship Id="rId527" Type="http://schemas.openxmlformats.org/officeDocument/2006/relationships/slideLayout" Target="../slideLayouts/slideLayout829.xml"/><Relationship Id="rId569" Type="http://schemas.openxmlformats.org/officeDocument/2006/relationships/slideLayout" Target="../slideLayouts/slideLayout871.xml"/><Relationship Id="rId734" Type="http://schemas.openxmlformats.org/officeDocument/2006/relationships/slideLayout" Target="../slideLayouts/slideLayout1036.xml"/><Relationship Id="rId70" Type="http://schemas.openxmlformats.org/officeDocument/2006/relationships/slideLayout" Target="../slideLayouts/slideLayout372.xml"/><Relationship Id="rId166" Type="http://schemas.openxmlformats.org/officeDocument/2006/relationships/slideLayout" Target="../slideLayouts/slideLayout468.xml"/><Relationship Id="rId331" Type="http://schemas.openxmlformats.org/officeDocument/2006/relationships/slideLayout" Target="../slideLayouts/slideLayout633.xml"/><Relationship Id="rId373" Type="http://schemas.openxmlformats.org/officeDocument/2006/relationships/slideLayout" Target="../slideLayouts/slideLayout675.xml"/><Relationship Id="rId429" Type="http://schemas.openxmlformats.org/officeDocument/2006/relationships/slideLayout" Target="../slideLayouts/slideLayout731.xml"/><Relationship Id="rId580" Type="http://schemas.openxmlformats.org/officeDocument/2006/relationships/slideLayout" Target="../slideLayouts/slideLayout882.xml"/><Relationship Id="rId636" Type="http://schemas.openxmlformats.org/officeDocument/2006/relationships/slideLayout" Target="../slideLayouts/slideLayout938.xml"/><Relationship Id="rId1" Type="http://schemas.openxmlformats.org/officeDocument/2006/relationships/slideLayout" Target="../slideLayouts/slideLayout303.xml"/><Relationship Id="rId233" Type="http://schemas.openxmlformats.org/officeDocument/2006/relationships/slideLayout" Target="../slideLayouts/slideLayout535.xml"/><Relationship Id="rId440" Type="http://schemas.openxmlformats.org/officeDocument/2006/relationships/slideLayout" Target="../slideLayouts/slideLayout742.xml"/><Relationship Id="rId678" Type="http://schemas.openxmlformats.org/officeDocument/2006/relationships/slideLayout" Target="../slideLayouts/slideLayout980.xml"/><Relationship Id="rId28" Type="http://schemas.openxmlformats.org/officeDocument/2006/relationships/slideLayout" Target="../slideLayouts/slideLayout330.xml"/><Relationship Id="rId275" Type="http://schemas.openxmlformats.org/officeDocument/2006/relationships/slideLayout" Target="../slideLayouts/slideLayout577.xml"/><Relationship Id="rId300" Type="http://schemas.openxmlformats.org/officeDocument/2006/relationships/slideLayout" Target="../slideLayouts/slideLayout602.xml"/><Relationship Id="rId482" Type="http://schemas.openxmlformats.org/officeDocument/2006/relationships/slideLayout" Target="../slideLayouts/slideLayout784.xml"/><Relationship Id="rId538" Type="http://schemas.openxmlformats.org/officeDocument/2006/relationships/slideLayout" Target="../slideLayouts/slideLayout840.xml"/><Relationship Id="rId703" Type="http://schemas.openxmlformats.org/officeDocument/2006/relationships/slideLayout" Target="../slideLayouts/slideLayout1005.xml"/><Relationship Id="rId81" Type="http://schemas.openxmlformats.org/officeDocument/2006/relationships/slideLayout" Target="../slideLayouts/slideLayout383.xml"/><Relationship Id="rId135" Type="http://schemas.openxmlformats.org/officeDocument/2006/relationships/slideLayout" Target="../slideLayouts/slideLayout437.xml"/><Relationship Id="rId177" Type="http://schemas.openxmlformats.org/officeDocument/2006/relationships/slideLayout" Target="../slideLayouts/slideLayout479.xml"/><Relationship Id="rId342" Type="http://schemas.openxmlformats.org/officeDocument/2006/relationships/slideLayout" Target="../slideLayouts/slideLayout644.xml"/><Relationship Id="rId384" Type="http://schemas.openxmlformats.org/officeDocument/2006/relationships/slideLayout" Target="../slideLayouts/slideLayout686.xml"/><Relationship Id="rId591" Type="http://schemas.openxmlformats.org/officeDocument/2006/relationships/slideLayout" Target="../slideLayouts/slideLayout893.xml"/><Relationship Id="rId605" Type="http://schemas.openxmlformats.org/officeDocument/2006/relationships/slideLayout" Target="../slideLayouts/slideLayout907.xml"/><Relationship Id="rId202" Type="http://schemas.openxmlformats.org/officeDocument/2006/relationships/slideLayout" Target="../slideLayouts/slideLayout504.xml"/><Relationship Id="rId244" Type="http://schemas.openxmlformats.org/officeDocument/2006/relationships/slideLayout" Target="../slideLayouts/slideLayout546.xml"/><Relationship Id="rId647" Type="http://schemas.openxmlformats.org/officeDocument/2006/relationships/slideLayout" Target="../slideLayouts/slideLayout949.xml"/><Relationship Id="rId689" Type="http://schemas.openxmlformats.org/officeDocument/2006/relationships/slideLayout" Target="../slideLayouts/slideLayout991.xml"/><Relationship Id="rId39" Type="http://schemas.openxmlformats.org/officeDocument/2006/relationships/slideLayout" Target="../slideLayouts/slideLayout341.xml"/><Relationship Id="rId286" Type="http://schemas.openxmlformats.org/officeDocument/2006/relationships/slideLayout" Target="../slideLayouts/slideLayout588.xml"/><Relationship Id="rId451" Type="http://schemas.openxmlformats.org/officeDocument/2006/relationships/slideLayout" Target="../slideLayouts/slideLayout753.xml"/><Relationship Id="rId493" Type="http://schemas.openxmlformats.org/officeDocument/2006/relationships/slideLayout" Target="../slideLayouts/slideLayout795.xml"/><Relationship Id="rId507" Type="http://schemas.openxmlformats.org/officeDocument/2006/relationships/slideLayout" Target="../slideLayouts/slideLayout809.xml"/><Relationship Id="rId549" Type="http://schemas.openxmlformats.org/officeDocument/2006/relationships/slideLayout" Target="../slideLayouts/slideLayout851.xml"/><Relationship Id="rId714" Type="http://schemas.openxmlformats.org/officeDocument/2006/relationships/slideLayout" Target="../slideLayouts/slideLayout1016.xml"/><Relationship Id="rId50" Type="http://schemas.openxmlformats.org/officeDocument/2006/relationships/slideLayout" Target="../slideLayouts/slideLayout352.xml"/><Relationship Id="rId104" Type="http://schemas.openxmlformats.org/officeDocument/2006/relationships/slideLayout" Target="../slideLayouts/slideLayout406.xml"/><Relationship Id="rId146" Type="http://schemas.openxmlformats.org/officeDocument/2006/relationships/slideLayout" Target="../slideLayouts/slideLayout448.xml"/><Relationship Id="rId188" Type="http://schemas.openxmlformats.org/officeDocument/2006/relationships/slideLayout" Target="../slideLayouts/slideLayout490.xml"/><Relationship Id="rId311" Type="http://schemas.openxmlformats.org/officeDocument/2006/relationships/slideLayout" Target="../slideLayouts/slideLayout613.xml"/><Relationship Id="rId353" Type="http://schemas.openxmlformats.org/officeDocument/2006/relationships/slideLayout" Target="../slideLayouts/slideLayout655.xml"/><Relationship Id="rId395" Type="http://schemas.openxmlformats.org/officeDocument/2006/relationships/slideLayout" Target="../slideLayouts/slideLayout697.xml"/><Relationship Id="rId409" Type="http://schemas.openxmlformats.org/officeDocument/2006/relationships/slideLayout" Target="../slideLayouts/slideLayout711.xml"/><Relationship Id="rId560" Type="http://schemas.openxmlformats.org/officeDocument/2006/relationships/slideLayout" Target="../slideLayouts/slideLayout862.xml"/><Relationship Id="rId92" Type="http://schemas.openxmlformats.org/officeDocument/2006/relationships/slideLayout" Target="../slideLayouts/slideLayout394.xml"/><Relationship Id="rId213" Type="http://schemas.openxmlformats.org/officeDocument/2006/relationships/slideLayout" Target="../slideLayouts/slideLayout515.xml"/><Relationship Id="rId420" Type="http://schemas.openxmlformats.org/officeDocument/2006/relationships/slideLayout" Target="../slideLayouts/slideLayout722.xml"/><Relationship Id="rId616" Type="http://schemas.openxmlformats.org/officeDocument/2006/relationships/slideLayout" Target="../slideLayouts/slideLayout918.xml"/><Relationship Id="rId658" Type="http://schemas.openxmlformats.org/officeDocument/2006/relationships/slideLayout" Target="../slideLayouts/slideLayout960.xml"/><Relationship Id="rId255" Type="http://schemas.openxmlformats.org/officeDocument/2006/relationships/slideLayout" Target="../slideLayouts/slideLayout557.xml"/><Relationship Id="rId297" Type="http://schemas.openxmlformats.org/officeDocument/2006/relationships/slideLayout" Target="../slideLayouts/slideLayout599.xml"/><Relationship Id="rId462" Type="http://schemas.openxmlformats.org/officeDocument/2006/relationships/slideLayout" Target="../slideLayouts/slideLayout764.xml"/><Relationship Id="rId518" Type="http://schemas.openxmlformats.org/officeDocument/2006/relationships/slideLayout" Target="../slideLayouts/slideLayout820.xml"/><Relationship Id="rId725" Type="http://schemas.openxmlformats.org/officeDocument/2006/relationships/slideLayout" Target="../slideLayouts/slideLayout1027.xml"/><Relationship Id="rId115" Type="http://schemas.openxmlformats.org/officeDocument/2006/relationships/slideLayout" Target="../slideLayouts/slideLayout417.xml"/><Relationship Id="rId157" Type="http://schemas.openxmlformats.org/officeDocument/2006/relationships/slideLayout" Target="../slideLayouts/slideLayout459.xml"/><Relationship Id="rId322" Type="http://schemas.openxmlformats.org/officeDocument/2006/relationships/slideLayout" Target="../slideLayouts/slideLayout624.xml"/><Relationship Id="rId364" Type="http://schemas.openxmlformats.org/officeDocument/2006/relationships/slideLayout" Target="../slideLayouts/slideLayout666.xml"/><Relationship Id="rId61" Type="http://schemas.openxmlformats.org/officeDocument/2006/relationships/slideLayout" Target="../slideLayouts/slideLayout363.xml"/><Relationship Id="rId199" Type="http://schemas.openxmlformats.org/officeDocument/2006/relationships/slideLayout" Target="../slideLayouts/slideLayout501.xml"/><Relationship Id="rId571" Type="http://schemas.openxmlformats.org/officeDocument/2006/relationships/slideLayout" Target="../slideLayouts/slideLayout873.xml"/><Relationship Id="rId627" Type="http://schemas.openxmlformats.org/officeDocument/2006/relationships/slideLayout" Target="../slideLayouts/slideLayout929.xml"/><Relationship Id="rId669" Type="http://schemas.openxmlformats.org/officeDocument/2006/relationships/slideLayout" Target="../slideLayouts/slideLayout971.xml"/><Relationship Id="rId19" Type="http://schemas.openxmlformats.org/officeDocument/2006/relationships/slideLayout" Target="../slideLayouts/slideLayout321.xml"/><Relationship Id="rId224" Type="http://schemas.openxmlformats.org/officeDocument/2006/relationships/slideLayout" Target="../slideLayouts/slideLayout526.xml"/><Relationship Id="rId266" Type="http://schemas.openxmlformats.org/officeDocument/2006/relationships/slideLayout" Target="../slideLayouts/slideLayout568.xml"/><Relationship Id="rId431" Type="http://schemas.openxmlformats.org/officeDocument/2006/relationships/slideLayout" Target="../slideLayouts/slideLayout733.xml"/><Relationship Id="rId473" Type="http://schemas.openxmlformats.org/officeDocument/2006/relationships/slideLayout" Target="../slideLayouts/slideLayout775.xml"/><Relationship Id="rId529" Type="http://schemas.openxmlformats.org/officeDocument/2006/relationships/slideLayout" Target="../slideLayouts/slideLayout831.xml"/><Relationship Id="rId680" Type="http://schemas.openxmlformats.org/officeDocument/2006/relationships/slideLayout" Target="../slideLayouts/slideLayout982.xml"/><Relationship Id="rId736" Type="http://schemas.openxmlformats.org/officeDocument/2006/relationships/slideLayout" Target="../slideLayouts/slideLayout1038.xml"/><Relationship Id="rId30" Type="http://schemas.openxmlformats.org/officeDocument/2006/relationships/slideLayout" Target="../slideLayouts/slideLayout332.xml"/><Relationship Id="rId126" Type="http://schemas.openxmlformats.org/officeDocument/2006/relationships/slideLayout" Target="../slideLayouts/slideLayout428.xml"/><Relationship Id="rId168" Type="http://schemas.openxmlformats.org/officeDocument/2006/relationships/slideLayout" Target="../slideLayouts/slideLayout470.xml"/><Relationship Id="rId333" Type="http://schemas.openxmlformats.org/officeDocument/2006/relationships/slideLayout" Target="../slideLayouts/slideLayout635.xml"/><Relationship Id="rId540" Type="http://schemas.openxmlformats.org/officeDocument/2006/relationships/slideLayout" Target="../slideLayouts/slideLayout842.xml"/><Relationship Id="rId72" Type="http://schemas.openxmlformats.org/officeDocument/2006/relationships/slideLayout" Target="../slideLayouts/slideLayout374.xml"/><Relationship Id="rId375" Type="http://schemas.openxmlformats.org/officeDocument/2006/relationships/slideLayout" Target="../slideLayouts/slideLayout677.xml"/><Relationship Id="rId582" Type="http://schemas.openxmlformats.org/officeDocument/2006/relationships/slideLayout" Target="../slideLayouts/slideLayout884.xml"/><Relationship Id="rId638" Type="http://schemas.openxmlformats.org/officeDocument/2006/relationships/slideLayout" Target="../slideLayouts/slideLayout940.xml"/><Relationship Id="rId3" Type="http://schemas.openxmlformats.org/officeDocument/2006/relationships/slideLayout" Target="../slideLayouts/slideLayout305.xml"/><Relationship Id="rId235" Type="http://schemas.openxmlformats.org/officeDocument/2006/relationships/slideLayout" Target="../slideLayouts/slideLayout537.xml"/><Relationship Id="rId277" Type="http://schemas.openxmlformats.org/officeDocument/2006/relationships/slideLayout" Target="../slideLayouts/slideLayout579.xml"/><Relationship Id="rId400" Type="http://schemas.openxmlformats.org/officeDocument/2006/relationships/slideLayout" Target="../slideLayouts/slideLayout702.xml"/><Relationship Id="rId442" Type="http://schemas.openxmlformats.org/officeDocument/2006/relationships/slideLayout" Target="../slideLayouts/slideLayout744.xml"/><Relationship Id="rId484" Type="http://schemas.openxmlformats.org/officeDocument/2006/relationships/slideLayout" Target="../slideLayouts/slideLayout786.xml"/><Relationship Id="rId705" Type="http://schemas.openxmlformats.org/officeDocument/2006/relationships/slideLayout" Target="../slideLayouts/slideLayout1007.xml"/><Relationship Id="rId137" Type="http://schemas.openxmlformats.org/officeDocument/2006/relationships/slideLayout" Target="../slideLayouts/slideLayout439.xml"/><Relationship Id="rId302" Type="http://schemas.openxmlformats.org/officeDocument/2006/relationships/slideLayout" Target="../slideLayouts/slideLayout604.xml"/><Relationship Id="rId344" Type="http://schemas.openxmlformats.org/officeDocument/2006/relationships/slideLayout" Target="../slideLayouts/slideLayout646.xml"/><Relationship Id="rId691" Type="http://schemas.openxmlformats.org/officeDocument/2006/relationships/slideLayout" Target="../slideLayouts/slideLayout993.xml"/><Relationship Id="rId41" Type="http://schemas.openxmlformats.org/officeDocument/2006/relationships/slideLayout" Target="../slideLayouts/slideLayout343.xml"/><Relationship Id="rId83" Type="http://schemas.openxmlformats.org/officeDocument/2006/relationships/slideLayout" Target="../slideLayouts/slideLayout385.xml"/><Relationship Id="rId179" Type="http://schemas.openxmlformats.org/officeDocument/2006/relationships/slideLayout" Target="../slideLayouts/slideLayout481.xml"/><Relationship Id="rId386" Type="http://schemas.openxmlformats.org/officeDocument/2006/relationships/slideLayout" Target="../slideLayouts/slideLayout688.xml"/><Relationship Id="rId551" Type="http://schemas.openxmlformats.org/officeDocument/2006/relationships/slideLayout" Target="../slideLayouts/slideLayout853.xml"/><Relationship Id="rId593" Type="http://schemas.openxmlformats.org/officeDocument/2006/relationships/slideLayout" Target="../slideLayouts/slideLayout895.xml"/><Relationship Id="rId607" Type="http://schemas.openxmlformats.org/officeDocument/2006/relationships/slideLayout" Target="../slideLayouts/slideLayout909.xml"/><Relationship Id="rId649" Type="http://schemas.openxmlformats.org/officeDocument/2006/relationships/slideLayout" Target="../slideLayouts/slideLayout951.xml"/><Relationship Id="rId190" Type="http://schemas.openxmlformats.org/officeDocument/2006/relationships/slideLayout" Target="../slideLayouts/slideLayout492.xml"/><Relationship Id="rId204" Type="http://schemas.openxmlformats.org/officeDocument/2006/relationships/slideLayout" Target="../slideLayouts/slideLayout506.xml"/><Relationship Id="rId246" Type="http://schemas.openxmlformats.org/officeDocument/2006/relationships/slideLayout" Target="../slideLayouts/slideLayout548.xml"/><Relationship Id="rId288" Type="http://schemas.openxmlformats.org/officeDocument/2006/relationships/slideLayout" Target="../slideLayouts/slideLayout590.xml"/><Relationship Id="rId411" Type="http://schemas.openxmlformats.org/officeDocument/2006/relationships/slideLayout" Target="../slideLayouts/slideLayout713.xml"/><Relationship Id="rId453" Type="http://schemas.openxmlformats.org/officeDocument/2006/relationships/slideLayout" Target="../slideLayouts/slideLayout755.xml"/><Relationship Id="rId509" Type="http://schemas.openxmlformats.org/officeDocument/2006/relationships/slideLayout" Target="../slideLayouts/slideLayout811.xml"/><Relationship Id="rId660" Type="http://schemas.openxmlformats.org/officeDocument/2006/relationships/slideLayout" Target="../slideLayouts/slideLayout962.xml"/><Relationship Id="rId106" Type="http://schemas.openxmlformats.org/officeDocument/2006/relationships/slideLayout" Target="../slideLayouts/slideLayout408.xml"/><Relationship Id="rId313" Type="http://schemas.openxmlformats.org/officeDocument/2006/relationships/slideLayout" Target="../slideLayouts/slideLayout615.xml"/><Relationship Id="rId495" Type="http://schemas.openxmlformats.org/officeDocument/2006/relationships/slideLayout" Target="../slideLayouts/slideLayout797.xml"/><Relationship Id="rId716" Type="http://schemas.openxmlformats.org/officeDocument/2006/relationships/slideLayout" Target="../slideLayouts/slideLayout1018.xml"/><Relationship Id="rId10" Type="http://schemas.openxmlformats.org/officeDocument/2006/relationships/slideLayout" Target="../slideLayouts/slideLayout312.xml"/><Relationship Id="rId52" Type="http://schemas.openxmlformats.org/officeDocument/2006/relationships/slideLayout" Target="../slideLayouts/slideLayout354.xml"/><Relationship Id="rId94" Type="http://schemas.openxmlformats.org/officeDocument/2006/relationships/slideLayout" Target="../slideLayouts/slideLayout396.xml"/><Relationship Id="rId148" Type="http://schemas.openxmlformats.org/officeDocument/2006/relationships/slideLayout" Target="../slideLayouts/slideLayout450.xml"/><Relationship Id="rId355" Type="http://schemas.openxmlformats.org/officeDocument/2006/relationships/slideLayout" Target="../slideLayouts/slideLayout657.xml"/><Relationship Id="rId397" Type="http://schemas.openxmlformats.org/officeDocument/2006/relationships/slideLayout" Target="../slideLayouts/slideLayout699.xml"/><Relationship Id="rId520" Type="http://schemas.openxmlformats.org/officeDocument/2006/relationships/slideLayout" Target="../slideLayouts/slideLayout822.xml"/><Relationship Id="rId562" Type="http://schemas.openxmlformats.org/officeDocument/2006/relationships/slideLayout" Target="../slideLayouts/slideLayout864.xml"/><Relationship Id="rId618" Type="http://schemas.openxmlformats.org/officeDocument/2006/relationships/slideLayout" Target="../slideLayouts/slideLayout920.xml"/><Relationship Id="rId215" Type="http://schemas.openxmlformats.org/officeDocument/2006/relationships/slideLayout" Target="../slideLayouts/slideLayout517.xml"/><Relationship Id="rId257" Type="http://schemas.openxmlformats.org/officeDocument/2006/relationships/slideLayout" Target="../slideLayouts/slideLayout559.xml"/><Relationship Id="rId422" Type="http://schemas.openxmlformats.org/officeDocument/2006/relationships/slideLayout" Target="../slideLayouts/slideLayout724.xml"/><Relationship Id="rId464" Type="http://schemas.openxmlformats.org/officeDocument/2006/relationships/slideLayout" Target="../slideLayouts/slideLayout766.xml"/><Relationship Id="rId299" Type="http://schemas.openxmlformats.org/officeDocument/2006/relationships/slideLayout" Target="../slideLayouts/slideLayout601.xml"/><Relationship Id="rId727" Type="http://schemas.openxmlformats.org/officeDocument/2006/relationships/slideLayout" Target="../slideLayouts/slideLayout1029.xml"/><Relationship Id="rId63" Type="http://schemas.openxmlformats.org/officeDocument/2006/relationships/slideLayout" Target="../slideLayouts/slideLayout365.xml"/><Relationship Id="rId159" Type="http://schemas.openxmlformats.org/officeDocument/2006/relationships/slideLayout" Target="../slideLayouts/slideLayout461.xml"/><Relationship Id="rId366" Type="http://schemas.openxmlformats.org/officeDocument/2006/relationships/slideLayout" Target="../slideLayouts/slideLayout668.xml"/><Relationship Id="rId573" Type="http://schemas.openxmlformats.org/officeDocument/2006/relationships/slideLayout" Target="../slideLayouts/slideLayout875.xml"/><Relationship Id="rId226" Type="http://schemas.openxmlformats.org/officeDocument/2006/relationships/slideLayout" Target="../slideLayouts/slideLayout528.xml"/><Relationship Id="rId433" Type="http://schemas.openxmlformats.org/officeDocument/2006/relationships/slideLayout" Target="../slideLayouts/slideLayout735.xml"/><Relationship Id="rId640" Type="http://schemas.openxmlformats.org/officeDocument/2006/relationships/slideLayout" Target="../slideLayouts/slideLayout942.xml"/><Relationship Id="rId738" Type="http://schemas.openxmlformats.org/officeDocument/2006/relationships/slideLayout" Target="../slideLayouts/slideLayout1040.xml"/><Relationship Id="rId74" Type="http://schemas.openxmlformats.org/officeDocument/2006/relationships/slideLayout" Target="../slideLayouts/slideLayout376.xml"/><Relationship Id="rId377" Type="http://schemas.openxmlformats.org/officeDocument/2006/relationships/slideLayout" Target="../slideLayouts/slideLayout679.xml"/><Relationship Id="rId500" Type="http://schemas.openxmlformats.org/officeDocument/2006/relationships/slideLayout" Target="../slideLayouts/slideLayout802.xml"/><Relationship Id="rId584" Type="http://schemas.openxmlformats.org/officeDocument/2006/relationships/slideLayout" Target="../slideLayouts/slideLayout886.xml"/><Relationship Id="rId5" Type="http://schemas.openxmlformats.org/officeDocument/2006/relationships/slideLayout" Target="../slideLayouts/slideLayout307.xml"/><Relationship Id="rId237" Type="http://schemas.openxmlformats.org/officeDocument/2006/relationships/slideLayout" Target="../slideLayouts/slideLayout539.xml"/><Relationship Id="rId444" Type="http://schemas.openxmlformats.org/officeDocument/2006/relationships/slideLayout" Target="../slideLayouts/slideLayout746.xml"/><Relationship Id="rId651" Type="http://schemas.openxmlformats.org/officeDocument/2006/relationships/slideLayout" Target="../slideLayouts/slideLayout953.xml"/><Relationship Id="rId290" Type="http://schemas.openxmlformats.org/officeDocument/2006/relationships/slideLayout" Target="../slideLayouts/slideLayout592.xml"/><Relationship Id="rId304" Type="http://schemas.openxmlformats.org/officeDocument/2006/relationships/slideLayout" Target="../slideLayouts/slideLayout606.xml"/><Relationship Id="rId388" Type="http://schemas.openxmlformats.org/officeDocument/2006/relationships/slideLayout" Target="../slideLayouts/slideLayout690.xml"/><Relationship Id="rId511" Type="http://schemas.openxmlformats.org/officeDocument/2006/relationships/slideLayout" Target="../slideLayouts/slideLayout813.xml"/><Relationship Id="rId609" Type="http://schemas.openxmlformats.org/officeDocument/2006/relationships/slideLayout" Target="../slideLayouts/slideLayout911.xml"/><Relationship Id="rId85" Type="http://schemas.openxmlformats.org/officeDocument/2006/relationships/slideLayout" Target="../slideLayouts/slideLayout387.xml"/><Relationship Id="rId150" Type="http://schemas.openxmlformats.org/officeDocument/2006/relationships/slideLayout" Target="../slideLayouts/slideLayout452.xml"/><Relationship Id="rId595" Type="http://schemas.openxmlformats.org/officeDocument/2006/relationships/slideLayout" Target="../slideLayouts/slideLayout897.xml"/><Relationship Id="rId248" Type="http://schemas.openxmlformats.org/officeDocument/2006/relationships/slideLayout" Target="../slideLayouts/slideLayout550.xml"/><Relationship Id="rId455" Type="http://schemas.openxmlformats.org/officeDocument/2006/relationships/slideLayout" Target="../slideLayouts/slideLayout757.xml"/><Relationship Id="rId662" Type="http://schemas.openxmlformats.org/officeDocument/2006/relationships/slideLayout" Target="../slideLayouts/slideLayout964.xml"/><Relationship Id="rId12" Type="http://schemas.openxmlformats.org/officeDocument/2006/relationships/slideLayout" Target="../slideLayouts/slideLayout314.xml"/><Relationship Id="rId108" Type="http://schemas.openxmlformats.org/officeDocument/2006/relationships/slideLayout" Target="../slideLayouts/slideLayout410.xml"/><Relationship Id="rId315" Type="http://schemas.openxmlformats.org/officeDocument/2006/relationships/slideLayout" Target="../slideLayouts/slideLayout617.xml"/><Relationship Id="rId522" Type="http://schemas.openxmlformats.org/officeDocument/2006/relationships/slideLayout" Target="../slideLayouts/slideLayout824.xml"/><Relationship Id="rId96" Type="http://schemas.openxmlformats.org/officeDocument/2006/relationships/slideLayout" Target="../slideLayouts/slideLayout398.xml"/><Relationship Id="rId161" Type="http://schemas.openxmlformats.org/officeDocument/2006/relationships/slideLayout" Target="../slideLayouts/slideLayout463.xml"/><Relationship Id="rId399" Type="http://schemas.openxmlformats.org/officeDocument/2006/relationships/slideLayout" Target="../slideLayouts/slideLayout701.xml"/><Relationship Id="rId259" Type="http://schemas.openxmlformats.org/officeDocument/2006/relationships/slideLayout" Target="../slideLayouts/slideLayout561.xml"/><Relationship Id="rId466" Type="http://schemas.openxmlformats.org/officeDocument/2006/relationships/slideLayout" Target="../slideLayouts/slideLayout768.xml"/><Relationship Id="rId673" Type="http://schemas.openxmlformats.org/officeDocument/2006/relationships/slideLayout" Target="../slideLayouts/slideLayout975.xml"/><Relationship Id="rId23" Type="http://schemas.openxmlformats.org/officeDocument/2006/relationships/slideLayout" Target="../slideLayouts/slideLayout325.xml"/><Relationship Id="rId119" Type="http://schemas.openxmlformats.org/officeDocument/2006/relationships/slideLayout" Target="../slideLayouts/slideLayout421.xml"/><Relationship Id="rId326" Type="http://schemas.openxmlformats.org/officeDocument/2006/relationships/slideLayout" Target="../slideLayouts/slideLayout628.xml"/><Relationship Id="rId533" Type="http://schemas.openxmlformats.org/officeDocument/2006/relationships/slideLayout" Target="../slideLayouts/slideLayout835.xml"/><Relationship Id="rId740" Type="http://schemas.openxmlformats.org/officeDocument/2006/relationships/slideLayout" Target="../slideLayouts/slideLayout1042.xml"/><Relationship Id="rId172" Type="http://schemas.openxmlformats.org/officeDocument/2006/relationships/slideLayout" Target="../slideLayouts/slideLayout474.xml"/><Relationship Id="rId477" Type="http://schemas.openxmlformats.org/officeDocument/2006/relationships/slideLayout" Target="../slideLayouts/slideLayout779.xml"/><Relationship Id="rId600" Type="http://schemas.openxmlformats.org/officeDocument/2006/relationships/slideLayout" Target="../slideLayouts/slideLayout902.xml"/><Relationship Id="rId684" Type="http://schemas.openxmlformats.org/officeDocument/2006/relationships/slideLayout" Target="../slideLayouts/slideLayout986.xml"/><Relationship Id="rId337" Type="http://schemas.openxmlformats.org/officeDocument/2006/relationships/slideLayout" Target="../slideLayouts/slideLayout639.xml"/><Relationship Id="rId34" Type="http://schemas.openxmlformats.org/officeDocument/2006/relationships/slideLayout" Target="../slideLayouts/slideLayout336.xml"/><Relationship Id="rId544" Type="http://schemas.openxmlformats.org/officeDocument/2006/relationships/slideLayout" Target="../slideLayouts/slideLayout846.xml"/><Relationship Id="rId183" Type="http://schemas.openxmlformats.org/officeDocument/2006/relationships/slideLayout" Target="../slideLayouts/slideLayout485.xml"/><Relationship Id="rId390" Type="http://schemas.openxmlformats.org/officeDocument/2006/relationships/slideLayout" Target="../slideLayouts/slideLayout692.xml"/><Relationship Id="rId404" Type="http://schemas.openxmlformats.org/officeDocument/2006/relationships/slideLayout" Target="../slideLayouts/slideLayout706.xml"/><Relationship Id="rId611" Type="http://schemas.openxmlformats.org/officeDocument/2006/relationships/slideLayout" Target="../slideLayouts/slideLayout913.xml"/><Relationship Id="rId250" Type="http://schemas.openxmlformats.org/officeDocument/2006/relationships/slideLayout" Target="../slideLayouts/slideLayout552.xml"/><Relationship Id="rId488" Type="http://schemas.openxmlformats.org/officeDocument/2006/relationships/slideLayout" Target="../slideLayouts/slideLayout790.xml"/><Relationship Id="rId695" Type="http://schemas.openxmlformats.org/officeDocument/2006/relationships/slideLayout" Target="../slideLayouts/slideLayout997.xml"/><Relationship Id="rId709" Type="http://schemas.openxmlformats.org/officeDocument/2006/relationships/slideLayout" Target="../slideLayouts/slideLayout1011.xml"/><Relationship Id="rId45" Type="http://schemas.openxmlformats.org/officeDocument/2006/relationships/slideLayout" Target="../slideLayouts/slideLayout347.xml"/><Relationship Id="rId110" Type="http://schemas.openxmlformats.org/officeDocument/2006/relationships/slideLayout" Target="../slideLayouts/slideLayout412.xml"/><Relationship Id="rId348" Type="http://schemas.openxmlformats.org/officeDocument/2006/relationships/slideLayout" Target="../slideLayouts/slideLayout650.xml"/><Relationship Id="rId555" Type="http://schemas.openxmlformats.org/officeDocument/2006/relationships/slideLayout" Target="../slideLayouts/slideLayout857.xml"/><Relationship Id="rId194" Type="http://schemas.openxmlformats.org/officeDocument/2006/relationships/slideLayout" Target="../slideLayouts/slideLayout496.xml"/><Relationship Id="rId208" Type="http://schemas.openxmlformats.org/officeDocument/2006/relationships/slideLayout" Target="../slideLayouts/slideLayout510.xml"/><Relationship Id="rId415" Type="http://schemas.openxmlformats.org/officeDocument/2006/relationships/slideLayout" Target="../slideLayouts/slideLayout717.xml"/><Relationship Id="rId622" Type="http://schemas.openxmlformats.org/officeDocument/2006/relationships/slideLayout" Target="../slideLayouts/slideLayout924.xml"/><Relationship Id="rId261" Type="http://schemas.openxmlformats.org/officeDocument/2006/relationships/slideLayout" Target="../slideLayouts/slideLayout563.xml"/><Relationship Id="rId499" Type="http://schemas.openxmlformats.org/officeDocument/2006/relationships/slideLayout" Target="../slideLayouts/slideLayout801.xml"/><Relationship Id="rId56" Type="http://schemas.openxmlformats.org/officeDocument/2006/relationships/slideLayout" Target="../slideLayouts/slideLayout358.xml"/><Relationship Id="rId359" Type="http://schemas.openxmlformats.org/officeDocument/2006/relationships/slideLayout" Target="../slideLayouts/slideLayout661.xml"/><Relationship Id="rId566" Type="http://schemas.openxmlformats.org/officeDocument/2006/relationships/slideLayout" Target="../slideLayouts/slideLayout868.xml"/><Relationship Id="rId121" Type="http://schemas.openxmlformats.org/officeDocument/2006/relationships/slideLayout" Target="../slideLayouts/slideLayout423.xml"/><Relationship Id="rId219" Type="http://schemas.openxmlformats.org/officeDocument/2006/relationships/slideLayout" Target="../slideLayouts/slideLayout521.xml"/><Relationship Id="rId426" Type="http://schemas.openxmlformats.org/officeDocument/2006/relationships/slideLayout" Target="../slideLayouts/slideLayout728.xml"/><Relationship Id="rId633" Type="http://schemas.openxmlformats.org/officeDocument/2006/relationships/slideLayout" Target="../slideLayouts/slideLayout935.xml"/><Relationship Id="rId67" Type="http://schemas.openxmlformats.org/officeDocument/2006/relationships/slideLayout" Target="../slideLayouts/slideLayout369.xml"/><Relationship Id="rId272" Type="http://schemas.openxmlformats.org/officeDocument/2006/relationships/slideLayout" Target="../slideLayouts/slideLayout574.xml"/><Relationship Id="rId577" Type="http://schemas.openxmlformats.org/officeDocument/2006/relationships/slideLayout" Target="../slideLayouts/slideLayout879.xml"/><Relationship Id="rId700" Type="http://schemas.openxmlformats.org/officeDocument/2006/relationships/slideLayout" Target="../slideLayouts/slideLayout1002.xml"/><Relationship Id="rId132" Type="http://schemas.openxmlformats.org/officeDocument/2006/relationships/slideLayout" Target="../slideLayouts/slideLayout434.xml"/><Relationship Id="rId437" Type="http://schemas.openxmlformats.org/officeDocument/2006/relationships/slideLayout" Target="../slideLayouts/slideLayout739.xml"/><Relationship Id="rId644" Type="http://schemas.openxmlformats.org/officeDocument/2006/relationships/slideLayout" Target="../slideLayouts/slideLayout946.xml"/><Relationship Id="rId283" Type="http://schemas.openxmlformats.org/officeDocument/2006/relationships/slideLayout" Target="../slideLayouts/slideLayout585.xml"/><Relationship Id="rId490" Type="http://schemas.openxmlformats.org/officeDocument/2006/relationships/slideLayout" Target="../slideLayouts/slideLayout792.xml"/><Relationship Id="rId504" Type="http://schemas.openxmlformats.org/officeDocument/2006/relationships/slideLayout" Target="../slideLayouts/slideLayout806.xml"/><Relationship Id="rId711" Type="http://schemas.openxmlformats.org/officeDocument/2006/relationships/slideLayout" Target="../slideLayouts/slideLayout1013.xml"/><Relationship Id="rId78" Type="http://schemas.openxmlformats.org/officeDocument/2006/relationships/slideLayout" Target="../slideLayouts/slideLayout380.xml"/><Relationship Id="rId143" Type="http://schemas.openxmlformats.org/officeDocument/2006/relationships/slideLayout" Target="../slideLayouts/slideLayout445.xml"/><Relationship Id="rId350" Type="http://schemas.openxmlformats.org/officeDocument/2006/relationships/slideLayout" Target="../slideLayouts/slideLayout652.xml"/><Relationship Id="rId588" Type="http://schemas.openxmlformats.org/officeDocument/2006/relationships/slideLayout" Target="../slideLayouts/slideLayout890.xml"/><Relationship Id="rId9" Type="http://schemas.openxmlformats.org/officeDocument/2006/relationships/slideLayout" Target="../slideLayouts/slideLayout311.xml"/><Relationship Id="rId210" Type="http://schemas.openxmlformats.org/officeDocument/2006/relationships/slideLayout" Target="../slideLayouts/slideLayout512.xml"/><Relationship Id="rId448" Type="http://schemas.openxmlformats.org/officeDocument/2006/relationships/slideLayout" Target="../slideLayouts/slideLayout750.xml"/><Relationship Id="rId655" Type="http://schemas.openxmlformats.org/officeDocument/2006/relationships/slideLayout" Target="../slideLayouts/slideLayout957.xml"/><Relationship Id="rId294" Type="http://schemas.openxmlformats.org/officeDocument/2006/relationships/slideLayout" Target="../slideLayouts/slideLayout596.xml"/><Relationship Id="rId308" Type="http://schemas.openxmlformats.org/officeDocument/2006/relationships/slideLayout" Target="../slideLayouts/slideLayout610.xml"/><Relationship Id="rId515" Type="http://schemas.openxmlformats.org/officeDocument/2006/relationships/slideLayout" Target="../slideLayouts/slideLayout817.xml"/><Relationship Id="rId722" Type="http://schemas.openxmlformats.org/officeDocument/2006/relationships/slideLayout" Target="../slideLayouts/slideLayout1024.xml"/><Relationship Id="rId89" Type="http://schemas.openxmlformats.org/officeDocument/2006/relationships/slideLayout" Target="../slideLayouts/slideLayout391.xml"/><Relationship Id="rId154" Type="http://schemas.openxmlformats.org/officeDocument/2006/relationships/slideLayout" Target="../slideLayouts/slideLayout456.xml"/><Relationship Id="rId361" Type="http://schemas.openxmlformats.org/officeDocument/2006/relationships/slideLayout" Target="../slideLayouts/slideLayout663.xml"/><Relationship Id="rId599" Type="http://schemas.openxmlformats.org/officeDocument/2006/relationships/slideLayout" Target="../slideLayouts/slideLayout901.xml"/><Relationship Id="rId459" Type="http://schemas.openxmlformats.org/officeDocument/2006/relationships/slideLayout" Target="../slideLayouts/slideLayout761.xml"/><Relationship Id="rId666" Type="http://schemas.openxmlformats.org/officeDocument/2006/relationships/slideLayout" Target="../slideLayouts/slideLayout968.xml"/><Relationship Id="rId16" Type="http://schemas.openxmlformats.org/officeDocument/2006/relationships/slideLayout" Target="../slideLayouts/slideLayout318.xml"/><Relationship Id="rId221" Type="http://schemas.openxmlformats.org/officeDocument/2006/relationships/slideLayout" Target="../slideLayouts/slideLayout523.xml"/><Relationship Id="rId319" Type="http://schemas.openxmlformats.org/officeDocument/2006/relationships/slideLayout" Target="../slideLayouts/slideLayout621.xml"/><Relationship Id="rId526" Type="http://schemas.openxmlformats.org/officeDocument/2006/relationships/slideLayout" Target="../slideLayouts/slideLayout828.xml"/><Relationship Id="rId733" Type="http://schemas.openxmlformats.org/officeDocument/2006/relationships/slideLayout" Target="../slideLayouts/slideLayout1035.xml"/><Relationship Id="rId165" Type="http://schemas.openxmlformats.org/officeDocument/2006/relationships/slideLayout" Target="../slideLayouts/slideLayout467.xml"/><Relationship Id="rId372" Type="http://schemas.openxmlformats.org/officeDocument/2006/relationships/slideLayout" Target="../slideLayouts/slideLayout674.xml"/><Relationship Id="rId677" Type="http://schemas.openxmlformats.org/officeDocument/2006/relationships/slideLayout" Target="../slideLayouts/slideLayout979.xml"/><Relationship Id="rId232" Type="http://schemas.openxmlformats.org/officeDocument/2006/relationships/slideLayout" Target="../slideLayouts/slideLayout534.xml"/><Relationship Id="rId27" Type="http://schemas.openxmlformats.org/officeDocument/2006/relationships/slideLayout" Target="../slideLayouts/slideLayout329.xml"/><Relationship Id="rId537" Type="http://schemas.openxmlformats.org/officeDocument/2006/relationships/slideLayout" Target="../slideLayouts/slideLayout839.xml"/><Relationship Id="rId744" Type="http://schemas.openxmlformats.org/officeDocument/2006/relationships/theme" Target="../theme/theme4.xml"/><Relationship Id="rId80" Type="http://schemas.openxmlformats.org/officeDocument/2006/relationships/slideLayout" Target="../slideLayouts/slideLayout382.xml"/><Relationship Id="rId176" Type="http://schemas.openxmlformats.org/officeDocument/2006/relationships/slideLayout" Target="../slideLayouts/slideLayout478.xml"/><Relationship Id="rId383" Type="http://schemas.openxmlformats.org/officeDocument/2006/relationships/slideLayout" Target="../slideLayouts/slideLayout685.xml"/><Relationship Id="rId590" Type="http://schemas.openxmlformats.org/officeDocument/2006/relationships/slideLayout" Target="../slideLayouts/slideLayout892.xml"/><Relationship Id="rId604" Type="http://schemas.openxmlformats.org/officeDocument/2006/relationships/slideLayout" Target="../slideLayouts/slideLayout906.xml"/><Relationship Id="rId243" Type="http://schemas.openxmlformats.org/officeDocument/2006/relationships/slideLayout" Target="../slideLayouts/slideLayout545.xml"/><Relationship Id="rId450" Type="http://schemas.openxmlformats.org/officeDocument/2006/relationships/slideLayout" Target="../slideLayouts/slideLayout752.xml"/><Relationship Id="rId688" Type="http://schemas.openxmlformats.org/officeDocument/2006/relationships/slideLayout" Target="../slideLayouts/slideLayout990.xml"/><Relationship Id="rId38" Type="http://schemas.openxmlformats.org/officeDocument/2006/relationships/slideLayout" Target="../slideLayouts/slideLayout340.xml"/><Relationship Id="rId103" Type="http://schemas.openxmlformats.org/officeDocument/2006/relationships/slideLayout" Target="../slideLayouts/slideLayout405.xml"/><Relationship Id="rId310" Type="http://schemas.openxmlformats.org/officeDocument/2006/relationships/slideLayout" Target="../slideLayouts/slideLayout612.xml"/><Relationship Id="rId548" Type="http://schemas.openxmlformats.org/officeDocument/2006/relationships/slideLayout" Target="../slideLayouts/slideLayout850.xml"/><Relationship Id="rId91" Type="http://schemas.openxmlformats.org/officeDocument/2006/relationships/slideLayout" Target="../slideLayouts/slideLayout393.xml"/><Relationship Id="rId187" Type="http://schemas.openxmlformats.org/officeDocument/2006/relationships/slideLayout" Target="../slideLayouts/slideLayout489.xml"/><Relationship Id="rId394" Type="http://schemas.openxmlformats.org/officeDocument/2006/relationships/slideLayout" Target="../slideLayouts/slideLayout696.xml"/><Relationship Id="rId408" Type="http://schemas.openxmlformats.org/officeDocument/2006/relationships/slideLayout" Target="../slideLayouts/slideLayout710.xml"/><Relationship Id="rId615" Type="http://schemas.openxmlformats.org/officeDocument/2006/relationships/slideLayout" Target="../slideLayouts/slideLayout917.xml"/><Relationship Id="rId254" Type="http://schemas.openxmlformats.org/officeDocument/2006/relationships/slideLayout" Target="../slideLayouts/slideLayout556.xml"/><Relationship Id="rId699" Type="http://schemas.openxmlformats.org/officeDocument/2006/relationships/slideLayout" Target="../slideLayouts/slideLayout1001.xml"/><Relationship Id="rId49" Type="http://schemas.openxmlformats.org/officeDocument/2006/relationships/slideLayout" Target="../slideLayouts/slideLayout351.xml"/><Relationship Id="rId114" Type="http://schemas.openxmlformats.org/officeDocument/2006/relationships/slideLayout" Target="../slideLayouts/slideLayout416.xml"/><Relationship Id="rId461" Type="http://schemas.openxmlformats.org/officeDocument/2006/relationships/slideLayout" Target="../slideLayouts/slideLayout763.xml"/><Relationship Id="rId559" Type="http://schemas.openxmlformats.org/officeDocument/2006/relationships/slideLayout" Target="../slideLayouts/slideLayout861.xml"/><Relationship Id="rId198" Type="http://schemas.openxmlformats.org/officeDocument/2006/relationships/slideLayout" Target="../slideLayouts/slideLayout500.xml"/><Relationship Id="rId321" Type="http://schemas.openxmlformats.org/officeDocument/2006/relationships/slideLayout" Target="../slideLayouts/slideLayout623.xml"/><Relationship Id="rId419" Type="http://schemas.openxmlformats.org/officeDocument/2006/relationships/slideLayout" Target="../slideLayouts/slideLayout721.xml"/><Relationship Id="rId626" Type="http://schemas.openxmlformats.org/officeDocument/2006/relationships/slideLayout" Target="../slideLayouts/slideLayout928.xml"/><Relationship Id="rId265" Type="http://schemas.openxmlformats.org/officeDocument/2006/relationships/slideLayout" Target="../slideLayouts/slideLayout567.xml"/><Relationship Id="rId472" Type="http://schemas.openxmlformats.org/officeDocument/2006/relationships/slideLayout" Target="../slideLayouts/slideLayout774.xml"/><Relationship Id="rId125" Type="http://schemas.openxmlformats.org/officeDocument/2006/relationships/slideLayout" Target="../slideLayouts/slideLayout427.xml"/><Relationship Id="rId332" Type="http://schemas.openxmlformats.org/officeDocument/2006/relationships/slideLayout" Target="../slideLayouts/slideLayout634.xml"/><Relationship Id="rId637" Type="http://schemas.openxmlformats.org/officeDocument/2006/relationships/slideLayout" Target="../slideLayouts/slideLayout939.xml"/><Relationship Id="rId276" Type="http://schemas.openxmlformats.org/officeDocument/2006/relationships/slideLayout" Target="../slideLayouts/slideLayout578.xml"/><Relationship Id="rId483" Type="http://schemas.openxmlformats.org/officeDocument/2006/relationships/slideLayout" Target="../slideLayouts/slideLayout785.xml"/><Relationship Id="rId690" Type="http://schemas.openxmlformats.org/officeDocument/2006/relationships/slideLayout" Target="../slideLayouts/slideLayout992.xml"/><Relationship Id="rId704" Type="http://schemas.openxmlformats.org/officeDocument/2006/relationships/slideLayout" Target="../slideLayouts/slideLayout1006.xml"/><Relationship Id="rId40" Type="http://schemas.openxmlformats.org/officeDocument/2006/relationships/slideLayout" Target="../slideLayouts/slideLayout342.xml"/><Relationship Id="rId136" Type="http://schemas.openxmlformats.org/officeDocument/2006/relationships/slideLayout" Target="../slideLayouts/slideLayout438.xml"/><Relationship Id="rId343" Type="http://schemas.openxmlformats.org/officeDocument/2006/relationships/slideLayout" Target="../slideLayouts/slideLayout645.xml"/><Relationship Id="rId550" Type="http://schemas.openxmlformats.org/officeDocument/2006/relationships/slideLayout" Target="../slideLayouts/slideLayout852.xml"/><Relationship Id="rId203" Type="http://schemas.openxmlformats.org/officeDocument/2006/relationships/slideLayout" Target="../slideLayouts/slideLayout505.xml"/><Relationship Id="rId648" Type="http://schemas.openxmlformats.org/officeDocument/2006/relationships/slideLayout" Target="../slideLayouts/slideLayout950.xml"/><Relationship Id="rId287" Type="http://schemas.openxmlformats.org/officeDocument/2006/relationships/slideLayout" Target="../slideLayouts/slideLayout589.xml"/><Relationship Id="rId410" Type="http://schemas.openxmlformats.org/officeDocument/2006/relationships/slideLayout" Target="../slideLayouts/slideLayout712.xml"/><Relationship Id="rId494" Type="http://schemas.openxmlformats.org/officeDocument/2006/relationships/slideLayout" Target="../slideLayouts/slideLayout796.xml"/><Relationship Id="rId508" Type="http://schemas.openxmlformats.org/officeDocument/2006/relationships/slideLayout" Target="../slideLayouts/slideLayout810.xml"/><Relationship Id="rId715" Type="http://schemas.openxmlformats.org/officeDocument/2006/relationships/slideLayout" Target="../slideLayouts/slideLayout1017.xml"/><Relationship Id="rId147" Type="http://schemas.openxmlformats.org/officeDocument/2006/relationships/slideLayout" Target="../slideLayouts/slideLayout449.xml"/><Relationship Id="rId354" Type="http://schemas.openxmlformats.org/officeDocument/2006/relationships/slideLayout" Target="../slideLayouts/slideLayout656.xml"/><Relationship Id="rId51" Type="http://schemas.openxmlformats.org/officeDocument/2006/relationships/slideLayout" Target="../slideLayouts/slideLayout353.xml"/><Relationship Id="rId561" Type="http://schemas.openxmlformats.org/officeDocument/2006/relationships/slideLayout" Target="../slideLayouts/slideLayout863.xml"/><Relationship Id="rId659" Type="http://schemas.openxmlformats.org/officeDocument/2006/relationships/slideLayout" Target="../slideLayouts/slideLayout961.xml"/><Relationship Id="rId214" Type="http://schemas.openxmlformats.org/officeDocument/2006/relationships/slideLayout" Target="../slideLayouts/slideLayout516.xml"/><Relationship Id="rId298" Type="http://schemas.openxmlformats.org/officeDocument/2006/relationships/slideLayout" Target="../slideLayouts/slideLayout600.xml"/><Relationship Id="rId421" Type="http://schemas.openxmlformats.org/officeDocument/2006/relationships/slideLayout" Target="../slideLayouts/slideLayout723.xml"/><Relationship Id="rId519" Type="http://schemas.openxmlformats.org/officeDocument/2006/relationships/slideLayout" Target="../slideLayouts/slideLayout82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1048.xml"/><Relationship Id="rId7" Type="http://schemas.openxmlformats.org/officeDocument/2006/relationships/slideLayout" Target="../slideLayouts/slideLayout1052.xml"/><Relationship Id="rId2" Type="http://schemas.openxmlformats.org/officeDocument/2006/relationships/slideLayout" Target="../slideLayouts/slideLayout1047.xml"/><Relationship Id="rId1" Type="http://schemas.openxmlformats.org/officeDocument/2006/relationships/slideLayout" Target="../slideLayouts/slideLayout1046.xml"/><Relationship Id="rId6" Type="http://schemas.openxmlformats.org/officeDocument/2006/relationships/slideLayout" Target="../slideLayouts/slideLayout1051.xml"/><Relationship Id="rId5" Type="http://schemas.openxmlformats.org/officeDocument/2006/relationships/slideLayout" Target="../slideLayouts/slideLayout1050.xml"/><Relationship Id="rId4" Type="http://schemas.openxmlformats.org/officeDocument/2006/relationships/slideLayout" Target="../slideLayouts/slideLayout1049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65.xml"/><Relationship Id="rId18" Type="http://schemas.openxmlformats.org/officeDocument/2006/relationships/slideLayout" Target="../slideLayouts/slideLayout1070.xml"/><Relationship Id="rId26" Type="http://schemas.openxmlformats.org/officeDocument/2006/relationships/slideLayout" Target="../slideLayouts/slideLayout1078.xml"/><Relationship Id="rId3" Type="http://schemas.openxmlformats.org/officeDocument/2006/relationships/slideLayout" Target="../slideLayouts/slideLayout1055.xml"/><Relationship Id="rId21" Type="http://schemas.openxmlformats.org/officeDocument/2006/relationships/slideLayout" Target="../slideLayouts/slideLayout1073.xml"/><Relationship Id="rId34" Type="http://schemas.openxmlformats.org/officeDocument/2006/relationships/slideLayout" Target="../slideLayouts/slideLayout1086.xml"/><Relationship Id="rId7" Type="http://schemas.openxmlformats.org/officeDocument/2006/relationships/slideLayout" Target="../slideLayouts/slideLayout1059.xml"/><Relationship Id="rId12" Type="http://schemas.openxmlformats.org/officeDocument/2006/relationships/slideLayout" Target="../slideLayouts/slideLayout1064.xml"/><Relationship Id="rId17" Type="http://schemas.openxmlformats.org/officeDocument/2006/relationships/slideLayout" Target="../slideLayouts/slideLayout1069.xml"/><Relationship Id="rId25" Type="http://schemas.openxmlformats.org/officeDocument/2006/relationships/slideLayout" Target="../slideLayouts/slideLayout1077.xml"/><Relationship Id="rId33" Type="http://schemas.openxmlformats.org/officeDocument/2006/relationships/slideLayout" Target="../slideLayouts/slideLayout1085.xml"/><Relationship Id="rId2" Type="http://schemas.openxmlformats.org/officeDocument/2006/relationships/slideLayout" Target="../slideLayouts/slideLayout1054.xml"/><Relationship Id="rId16" Type="http://schemas.openxmlformats.org/officeDocument/2006/relationships/slideLayout" Target="../slideLayouts/slideLayout1068.xml"/><Relationship Id="rId20" Type="http://schemas.openxmlformats.org/officeDocument/2006/relationships/slideLayout" Target="../slideLayouts/slideLayout1072.xml"/><Relationship Id="rId29" Type="http://schemas.openxmlformats.org/officeDocument/2006/relationships/slideLayout" Target="../slideLayouts/slideLayout1081.xml"/><Relationship Id="rId1" Type="http://schemas.openxmlformats.org/officeDocument/2006/relationships/slideLayout" Target="../slideLayouts/slideLayout1053.xml"/><Relationship Id="rId6" Type="http://schemas.openxmlformats.org/officeDocument/2006/relationships/slideLayout" Target="../slideLayouts/slideLayout1058.xml"/><Relationship Id="rId11" Type="http://schemas.openxmlformats.org/officeDocument/2006/relationships/slideLayout" Target="../slideLayouts/slideLayout1063.xml"/><Relationship Id="rId24" Type="http://schemas.openxmlformats.org/officeDocument/2006/relationships/slideLayout" Target="../slideLayouts/slideLayout1076.xml"/><Relationship Id="rId32" Type="http://schemas.openxmlformats.org/officeDocument/2006/relationships/slideLayout" Target="../slideLayouts/slideLayout1084.xml"/><Relationship Id="rId5" Type="http://schemas.openxmlformats.org/officeDocument/2006/relationships/slideLayout" Target="../slideLayouts/slideLayout1057.xml"/><Relationship Id="rId15" Type="http://schemas.openxmlformats.org/officeDocument/2006/relationships/slideLayout" Target="../slideLayouts/slideLayout1067.xml"/><Relationship Id="rId23" Type="http://schemas.openxmlformats.org/officeDocument/2006/relationships/slideLayout" Target="../slideLayouts/slideLayout1075.xml"/><Relationship Id="rId28" Type="http://schemas.openxmlformats.org/officeDocument/2006/relationships/slideLayout" Target="../slideLayouts/slideLayout1080.xml"/><Relationship Id="rId36" Type="http://schemas.openxmlformats.org/officeDocument/2006/relationships/theme" Target="../theme/theme6.xml"/><Relationship Id="rId10" Type="http://schemas.openxmlformats.org/officeDocument/2006/relationships/slideLayout" Target="../slideLayouts/slideLayout1062.xml"/><Relationship Id="rId19" Type="http://schemas.openxmlformats.org/officeDocument/2006/relationships/slideLayout" Target="../slideLayouts/slideLayout1071.xml"/><Relationship Id="rId31" Type="http://schemas.openxmlformats.org/officeDocument/2006/relationships/slideLayout" Target="../slideLayouts/slideLayout1083.xml"/><Relationship Id="rId4" Type="http://schemas.openxmlformats.org/officeDocument/2006/relationships/slideLayout" Target="../slideLayouts/slideLayout1056.xml"/><Relationship Id="rId9" Type="http://schemas.openxmlformats.org/officeDocument/2006/relationships/slideLayout" Target="../slideLayouts/slideLayout1061.xml"/><Relationship Id="rId14" Type="http://schemas.openxmlformats.org/officeDocument/2006/relationships/slideLayout" Target="../slideLayouts/slideLayout1066.xml"/><Relationship Id="rId22" Type="http://schemas.openxmlformats.org/officeDocument/2006/relationships/slideLayout" Target="../slideLayouts/slideLayout1074.xml"/><Relationship Id="rId27" Type="http://schemas.openxmlformats.org/officeDocument/2006/relationships/slideLayout" Target="../slideLayouts/slideLayout1079.xml"/><Relationship Id="rId30" Type="http://schemas.openxmlformats.org/officeDocument/2006/relationships/slideLayout" Target="../slideLayouts/slideLayout1082.xml"/><Relationship Id="rId35" Type="http://schemas.openxmlformats.org/officeDocument/2006/relationships/slideLayout" Target="../slideLayouts/slideLayout1087.xml"/><Relationship Id="rId8" Type="http://schemas.openxmlformats.org/officeDocument/2006/relationships/slideLayout" Target="../slideLayouts/slideLayout10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5.xml"/><Relationship Id="rId3" Type="http://schemas.openxmlformats.org/officeDocument/2006/relationships/slideLayout" Target="../slideLayouts/slideLayout1090.xml"/><Relationship Id="rId7" Type="http://schemas.openxmlformats.org/officeDocument/2006/relationships/slideLayout" Target="../slideLayouts/slideLayout109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089.xml"/><Relationship Id="rId1" Type="http://schemas.openxmlformats.org/officeDocument/2006/relationships/slideLayout" Target="../slideLayouts/slideLayout1088.xml"/><Relationship Id="rId6" Type="http://schemas.openxmlformats.org/officeDocument/2006/relationships/slideLayout" Target="../slideLayouts/slideLayout1093.xml"/><Relationship Id="rId11" Type="http://schemas.openxmlformats.org/officeDocument/2006/relationships/slideLayout" Target="../slideLayouts/slideLayout1098.xml"/><Relationship Id="rId5" Type="http://schemas.openxmlformats.org/officeDocument/2006/relationships/slideLayout" Target="../slideLayouts/slideLayout1092.xml"/><Relationship Id="rId10" Type="http://schemas.openxmlformats.org/officeDocument/2006/relationships/slideLayout" Target="../slideLayouts/slideLayout1097.xml"/><Relationship Id="rId4" Type="http://schemas.openxmlformats.org/officeDocument/2006/relationships/slideLayout" Target="../slideLayouts/slideLayout1091.xml"/><Relationship Id="rId9" Type="http://schemas.openxmlformats.org/officeDocument/2006/relationships/slideLayout" Target="../slideLayouts/slideLayout10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6.xml"/><Relationship Id="rId13" Type="http://schemas.openxmlformats.org/officeDocument/2006/relationships/slideLayout" Target="../slideLayouts/slideLayout1111.xml"/><Relationship Id="rId18" Type="http://schemas.openxmlformats.org/officeDocument/2006/relationships/slideLayout" Target="../slideLayouts/slideLayout1116.xml"/><Relationship Id="rId3" Type="http://schemas.openxmlformats.org/officeDocument/2006/relationships/slideLayout" Target="../slideLayouts/slideLayout1101.xml"/><Relationship Id="rId21" Type="http://schemas.openxmlformats.org/officeDocument/2006/relationships/slideLayout" Target="../slideLayouts/slideLayout1119.xml"/><Relationship Id="rId7" Type="http://schemas.openxmlformats.org/officeDocument/2006/relationships/slideLayout" Target="../slideLayouts/slideLayout1105.xml"/><Relationship Id="rId12" Type="http://schemas.openxmlformats.org/officeDocument/2006/relationships/slideLayout" Target="../slideLayouts/slideLayout1110.xml"/><Relationship Id="rId17" Type="http://schemas.openxmlformats.org/officeDocument/2006/relationships/slideLayout" Target="../slideLayouts/slideLayout1115.xml"/><Relationship Id="rId25" Type="http://schemas.openxmlformats.org/officeDocument/2006/relationships/image" Target="../media/image103.emf"/><Relationship Id="rId2" Type="http://schemas.openxmlformats.org/officeDocument/2006/relationships/slideLayout" Target="../slideLayouts/slideLayout1100.xml"/><Relationship Id="rId16" Type="http://schemas.openxmlformats.org/officeDocument/2006/relationships/slideLayout" Target="../slideLayouts/slideLayout1114.xml"/><Relationship Id="rId20" Type="http://schemas.openxmlformats.org/officeDocument/2006/relationships/slideLayout" Target="../slideLayouts/slideLayout1118.xml"/><Relationship Id="rId1" Type="http://schemas.openxmlformats.org/officeDocument/2006/relationships/slideLayout" Target="../slideLayouts/slideLayout1099.xml"/><Relationship Id="rId6" Type="http://schemas.openxmlformats.org/officeDocument/2006/relationships/slideLayout" Target="../slideLayouts/slideLayout1104.xml"/><Relationship Id="rId11" Type="http://schemas.openxmlformats.org/officeDocument/2006/relationships/slideLayout" Target="../slideLayouts/slideLayout1109.xml"/><Relationship Id="rId24" Type="http://schemas.openxmlformats.org/officeDocument/2006/relationships/image" Target="../media/image102.jpeg"/><Relationship Id="rId5" Type="http://schemas.openxmlformats.org/officeDocument/2006/relationships/slideLayout" Target="../slideLayouts/slideLayout1103.xml"/><Relationship Id="rId15" Type="http://schemas.openxmlformats.org/officeDocument/2006/relationships/slideLayout" Target="../slideLayouts/slideLayout1113.xml"/><Relationship Id="rId23" Type="http://schemas.openxmlformats.org/officeDocument/2006/relationships/theme" Target="../theme/theme8.xml"/><Relationship Id="rId10" Type="http://schemas.openxmlformats.org/officeDocument/2006/relationships/slideLayout" Target="../slideLayouts/slideLayout1108.xml"/><Relationship Id="rId19" Type="http://schemas.openxmlformats.org/officeDocument/2006/relationships/slideLayout" Target="../slideLayouts/slideLayout1117.xml"/><Relationship Id="rId4" Type="http://schemas.openxmlformats.org/officeDocument/2006/relationships/slideLayout" Target="../slideLayouts/slideLayout1102.xml"/><Relationship Id="rId9" Type="http://schemas.openxmlformats.org/officeDocument/2006/relationships/slideLayout" Target="../slideLayouts/slideLayout1107.xml"/><Relationship Id="rId14" Type="http://schemas.openxmlformats.org/officeDocument/2006/relationships/slideLayout" Target="../slideLayouts/slideLayout1112.xml"/><Relationship Id="rId22" Type="http://schemas.openxmlformats.org/officeDocument/2006/relationships/slideLayout" Target="../slideLayouts/slideLayout11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72" name="Google Shape;13172;p39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173" name="Google Shape;13173;p39"/>
          <p:cNvSpPr txBox="1">
            <a:spLocks noGrp="1"/>
          </p:cNvSpPr>
          <p:nvPr>
            <p:ph type="body" idx="1"/>
          </p:nvPr>
        </p:nvSpPr>
        <p:spPr>
          <a:xfrm>
            <a:off x="1180846" y="1033017"/>
            <a:ext cx="9452610" cy="1463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74" name="Google Shape;13174;p39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175" name="Google Shape;13175;p39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176" name="Google Shape;13176;p39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998" r:id="rId1"/>
    <p:sldLayoutId id="2147485000" r:id="rId2"/>
    <p:sldLayoutId id="2147492012" r:id="rId3"/>
    <p:sldLayoutId id="2147492013" r:id="rId4"/>
    <p:sldLayoutId id="2147485003" r:id="rId5"/>
    <p:sldLayoutId id="2147485004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8" name="Google Shape;9038;p2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039" name="Google Shape;9039;p2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040" name="Google Shape;9040;p2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041" name="Google Shape;9041;p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584" r:id="rId1"/>
    <p:sldLayoutId id="2147484585" r:id="rId2"/>
    <p:sldLayoutId id="2147492001" r:id="rId3"/>
    <p:sldLayoutId id="2147484587" r:id="rId4"/>
    <p:sldLayoutId id="2147492002" r:id="rId5"/>
    <p:sldLayoutId id="2147484589" r:id="rId6"/>
    <p:sldLayoutId id="2147484590" r:id="rId7"/>
    <p:sldLayoutId id="2147484591" r:id="rId8"/>
    <p:sldLayoutId id="2147484592" r:id="rId9"/>
    <p:sldLayoutId id="2147484593" r:id="rId10"/>
    <p:sldLayoutId id="2147484594" r:id="rId11"/>
    <p:sldLayoutId id="2147484595" r:id="rId12"/>
    <p:sldLayoutId id="2147484596" r:id="rId13"/>
    <p:sldLayoutId id="2147484597" r:id="rId14"/>
    <p:sldLayoutId id="2147484598" r:id="rId15"/>
    <p:sldLayoutId id="2147484599" r:id="rId16"/>
    <p:sldLayoutId id="2147484600" r:id="rId17"/>
    <p:sldLayoutId id="2147484601" r:id="rId18"/>
    <p:sldLayoutId id="2147491976" r:id="rId19"/>
    <p:sldLayoutId id="2147484603" r:id="rId20"/>
    <p:sldLayoutId id="2147491977" r:id="rId21"/>
    <p:sldLayoutId id="2147484605" r:id="rId22"/>
    <p:sldLayoutId id="2147484606" r:id="rId23"/>
    <p:sldLayoutId id="2147484607" r:id="rId24"/>
    <p:sldLayoutId id="2147491985" r:id="rId25"/>
    <p:sldLayoutId id="2147484609" r:id="rId26"/>
    <p:sldLayoutId id="2147484610" r:id="rId27"/>
    <p:sldLayoutId id="2147484611" r:id="rId28"/>
    <p:sldLayoutId id="2147484612" r:id="rId29"/>
    <p:sldLayoutId id="2147484613" r:id="rId30"/>
    <p:sldLayoutId id="2147484614" r:id="rId31"/>
    <p:sldLayoutId id="2147484615" r:id="rId32"/>
    <p:sldLayoutId id="2147484616" r:id="rId33"/>
    <p:sldLayoutId id="2147484617" r:id="rId34"/>
    <p:sldLayoutId id="2147484618" r:id="rId35"/>
    <p:sldLayoutId id="2147484619" r:id="rId36"/>
    <p:sldLayoutId id="2147484620" r:id="rId37"/>
    <p:sldLayoutId id="2147484621" r:id="rId38"/>
    <p:sldLayoutId id="2147484622" r:id="rId39"/>
    <p:sldLayoutId id="2147484623" r:id="rId40"/>
    <p:sldLayoutId id="2147484624" r:id="rId41"/>
    <p:sldLayoutId id="2147484625" r:id="rId42"/>
    <p:sldLayoutId id="2147491973" r:id="rId43"/>
    <p:sldLayoutId id="2147491962" r:id="rId44"/>
    <p:sldLayoutId id="2147484628" r:id="rId45"/>
    <p:sldLayoutId id="2147484629" r:id="rId46"/>
    <p:sldLayoutId id="2147484630" r:id="rId47"/>
    <p:sldLayoutId id="2147484631" r:id="rId48"/>
    <p:sldLayoutId id="2147484632" r:id="rId49"/>
    <p:sldLayoutId id="2147484633" r:id="rId50"/>
    <p:sldLayoutId id="2147484634" r:id="rId51"/>
    <p:sldLayoutId id="2147491964" r:id="rId52"/>
    <p:sldLayoutId id="2147484636" r:id="rId53"/>
    <p:sldLayoutId id="2147484637" r:id="rId54"/>
    <p:sldLayoutId id="2147484638" r:id="rId55"/>
    <p:sldLayoutId id="2147484639" r:id="rId56"/>
    <p:sldLayoutId id="2147484640" r:id="rId57"/>
    <p:sldLayoutId id="2147484641" r:id="rId58"/>
    <p:sldLayoutId id="2147484642" r:id="rId59"/>
    <p:sldLayoutId id="2147484643" r:id="rId60"/>
    <p:sldLayoutId id="2147484644" r:id="rId61"/>
    <p:sldLayoutId id="2147484645" r:id="rId62"/>
    <p:sldLayoutId id="2147484646" r:id="rId63"/>
    <p:sldLayoutId id="2147484647" r:id="rId64"/>
    <p:sldLayoutId id="2147484648" r:id="rId65"/>
    <p:sldLayoutId id="2147484649" r:id="rId66"/>
    <p:sldLayoutId id="2147484650" r:id="rId67"/>
    <p:sldLayoutId id="2147484651" r:id="rId68"/>
    <p:sldLayoutId id="2147492009" r:id="rId69"/>
    <p:sldLayoutId id="2147492010" r:id="rId70"/>
    <p:sldLayoutId id="2147491983" r:id="rId71"/>
    <p:sldLayoutId id="2147491984" r:id="rId72"/>
    <p:sldLayoutId id="2147484656" r:id="rId73"/>
    <p:sldLayoutId id="2147484657" r:id="rId74"/>
    <p:sldLayoutId id="2147484658" r:id="rId75"/>
    <p:sldLayoutId id="2147484659" r:id="rId76"/>
    <p:sldLayoutId id="2147484660" r:id="rId77"/>
    <p:sldLayoutId id="2147484661" r:id="rId78"/>
    <p:sldLayoutId id="2147484662" r:id="rId79"/>
    <p:sldLayoutId id="2147484663" r:id="rId80"/>
    <p:sldLayoutId id="2147484664" r:id="rId81"/>
    <p:sldLayoutId id="2147484665" r:id="rId82"/>
    <p:sldLayoutId id="2147484666" r:id="rId83"/>
    <p:sldLayoutId id="2147484667" r:id="rId84"/>
    <p:sldLayoutId id="2147484668" r:id="rId85"/>
    <p:sldLayoutId id="2147484669" r:id="rId86"/>
    <p:sldLayoutId id="2147484670" r:id="rId87"/>
    <p:sldLayoutId id="2147484671" r:id="rId88"/>
    <p:sldLayoutId id="2147484672" r:id="rId89"/>
    <p:sldLayoutId id="2147484673" r:id="rId90"/>
    <p:sldLayoutId id="2147484674" r:id="rId91"/>
    <p:sldLayoutId id="2147484675" r:id="rId92"/>
    <p:sldLayoutId id="2147484676" r:id="rId93"/>
    <p:sldLayoutId id="2147484677" r:id="rId94"/>
    <p:sldLayoutId id="2147484678" r:id="rId95"/>
    <p:sldLayoutId id="2147484679" r:id="rId96"/>
    <p:sldLayoutId id="2147484680" r:id="rId97"/>
    <p:sldLayoutId id="2147484681" r:id="rId98"/>
    <p:sldLayoutId id="2147484682" r:id="rId99"/>
    <p:sldLayoutId id="2147484683" r:id="rId100"/>
    <p:sldLayoutId id="2147484684" r:id="rId101"/>
    <p:sldLayoutId id="2147484685" r:id="rId102"/>
    <p:sldLayoutId id="2147484686" r:id="rId103"/>
    <p:sldLayoutId id="2147484687" r:id="rId104"/>
    <p:sldLayoutId id="2147484688" r:id="rId105"/>
    <p:sldLayoutId id="2147484689" r:id="rId106"/>
    <p:sldLayoutId id="2147484690" r:id="rId107"/>
    <p:sldLayoutId id="2147484691" r:id="rId108"/>
    <p:sldLayoutId id="2147484692" r:id="rId109"/>
    <p:sldLayoutId id="2147484693" r:id="rId110"/>
    <p:sldLayoutId id="2147484694" r:id="rId111"/>
    <p:sldLayoutId id="2147484695" r:id="rId112"/>
    <p:sldLayoutId id="2147484696" r:id="rId113"/>
    <p:sldLayoutId id="2147484697" r:id="rId114"/>
    <p:sldLayoutId id="2147484698" r:id="rId115"/>
    <p:sldLayoutId id="2147484699" r:id="rId116"/>
    <p:sldLayoutId id="2147484700" r:id="rId117"/>
    <p:sldLayoutId id="2147484701" r:id="rId118"/>
    <p:sldLayoutId id="2147484702" r:id="rId119"/>
    <p:sldLayoutId id="2147484703" r:id="rId120"/>
    <p:sldLayoutId id="2147484704" r:id="rId121"/>
    <p:sldLayoutId id="2147484705" r:id="rId122"/>
    <p:sldLayoutId id="2147484706" r:id="rId123"/>
    <p:sldLayoutId id="2147484708" r:id="rId124"/>
    <p:sldLayoutId id="2147484709" r:id="rId125"/>
    <p:sldLayoutId id="2147484710" r:id="rId126"/>
    <p:sldLayoutId id="2147484711" r:id="rId127"/>
    <p:sldLayoutId id="2147484712" r:id="rId128"/>
    <p:sldLayoutId id="2147484713" r:id="rId129"/>
    <p:sldLayoutId id="2147484714" r:id="rId130"/>
    <p:sldLayoutId id="2147484715" r:id="rId131"/>
    <p:sldLayoutId id="2147484716" r:id="rId132"/>
    <p:sldLayoutId id="2147484717" r:id="rId133"/>
    <p:sldLayoutId id="2147484718" r:id="rId134"/>
    <p:sldLayoutId id="2147484719" r:id="rId135"/>
    <p:sldLayoutId id="2147484720" r:id="rId136"/>
    <p:sldLayoutId id="2147484721" r:id="rId137"/>
    <p:sldLayoutId id="2147484722" r:id="rId138"/>
    <p:sldLayoutId id="2147484723" r:id="rId139"/>
    <p:sldLayoutId id="2147484724" r:id="rId140"/>
    <p:sldLayoutId id="2147484725" r:id="rId141"/>
    <p:sldLayoutId id="2147484726" r:id="rId142"/>
    <p:sldLayoutId id="2147484727" r:id="rId143"/>
    <p:sldLayoutId id="2147484728" r:id="rId144"/>
    <p:sldLayoutId id="2147484729" r:id="rId145"/>
    <p:sldLayoutId id="2147484730" r:id="rId146"/>
    <p:sldLayoutId id="2147484731" r:id="rId147"/>
    <p:sldLayoutId id="2147484732" r:id="rId148"/>
    <p:sldLayoutId id="2147484733" r:id="rId149"/>
    <p:sldLayoutId id="2147484734" r:id="rId150"/>
    <p:sldLayoutId id="2147484735" r:id="rId151"/>
    <p:sldLayoutId id="2147484736" r:id="rId152"/>
    <p:sldLayoutId id="2147484737" r:id="rId153"/>
    <p:sldLayoutId id="2147484738" r:id="rId154"/>
    <p:sldLayoutId id="2147484739" r:id="rId155"/>
    <p:sldLayoutId id="2147484740" r:id="rId156"/>
    <p:sldLayoutId id="2147484741" r:id="rId157"/>
    <p:sldLayoutId id="2147484742" r:id="rId158"/>
    <p:sldLayoutId id="2147484743" r:id="rId159"/>
    <p:sldLayoutId id="2147484744" r:id="rId160"/>
    <p:sldLayoutId id="2147484745" r:id="rId161"/>
    <p:sldLayoutId id="2147484746" r:id="rId162"/>
    <p:sldLayoutId id="2147484747" r:id="rId163"/>
    <p:sldLayoutId id="2147484748" r:id="rId164"/>
    <p:sldLayoutId id="2147484749" r:id="rId165"/>
    <p:sldLayoutId id="2147484750" r:id="rId166"/>
    <p:sldLayoutId id="2147484751" r:id="rId167"/>
    <p:sldLayoutId id="2147484752" r:id="rId168"/>
    <p:sldLayoutId id="2147484753" r:id="rId169"/>
    <p:sldLayoutId id="2147484754" r:id="rId170"/>
    <p:sldLayoutId id="2147484755" r:id="rId171"/>
    <p:sldLayoutId id="2147484756" r:id="rId172"/>
    <p:sldLayoutId id="2147484757" r:id="rId173"/>
    <p:sldLayoutId id="2147484758" r:id="rId174"/>
    <p:sldLayoutId id="2147484759" r:id="rId175"/>
    <p:sldLayoutId id="2147484760" r:id="rId176"/>
    <p:sldLayoutId id="2147484761" r:id="rId177"/>
    <p:sldLayoutId id="2147484762" r:id="rId178"/>
    <p:sldLayoutId id="2147484763" r:id="rId179"/>
    <p:sldLayoutId id="2147484764" r:id="rId180"/>
    <p:sldLayoutId id="2147484765" r:id="rId181"/>
    <p:sldLayoutId id="2147491979" r:id="rId182"/>
    <p:sldLayoutId id="2147491980" r:id="rId183"/>
    <p:sldLayoutId id="2147491981" r:id="rId184"/>
    <p:sldLayoutId id="2147484769" r:id="rId185"/>
    <p:sldLayoutId id="2147484770" r:id="rId186"/>
    <p:sldLayoutId id="2147484771" r:id="rId187"/>
    <p:sldLayoutId id="2147484772" r:id="rId188"/>
    <p:sldLayoutId id="2147484773" r:id="rId189"/>
    <p:sldLayoutId id="2147491993" r:id="rId190"/>
    <p:sldLayoutId id="2147491994" r:id="rId191"/>
    <p:sldLayoutId id="2147491995" r:id="rId192"/>
    <p:sldLayoutId id="2147491996" r:id="rId193"/>
    <p:sldLayoutId id="2147484778" r:id="rId194"/>
    <p:sldLayoutId id="2147484779" r:id="rId195"/>
    <p:sldLayoutId id="2147484780" r:id="rId196"/>
    <p:sldLayoutId id="2147484781" r:id="rId197"/>
    <p:sldLayoutId id="2147484782" r:id="rId198"/>
    <p:sldLayoutId id="2147484783" r:id="rId199"/>
    <p:sldLayoutId id="2147484784" r:id="rId200"/>
    <p:sldLayoutId id="2147484785" r:id="rId201"/>
    <p:sldLayoutId id="2147484786" r:id="rId202"/>
    <p:sldLayoutId id="2147484787" r:id="rId203"/>
    <p:sldLayoutId id="2147484788" r:id="rId204"/>
    <p:sldLayoutId id="2147484789" r:id="rId205"/>
    <p:sldLayoutId id="2147484790" r:id="rId206"/>
    <p:sldLayoutId id="2147484791" r:id="rId207"/>
    <p:sldLayoutId id="2147484792" r:id="rId208"/>
    <p:sldLayoutId id="2147484793" r:id="rId209"/>
    <p:sldLayoutId id="2147484794" r:id="rId210"/>
    <p:sldLayoutId id="2147484795" r:id="rId211"/>
    <p:sldLayoutId id="2147484796" r:id="rId212"/>
    <p:sldLayoutId id="2147484797" r:id="rId213"/>
    <p:sldLayoutId id="2147484798" r:id="rId214"/>
    <p:sldLayoutId id="2147484799" r:id="rId215"/>
    <p:sldLayoutId id="2147484800" r:id="rId216"/>
    <p:sldLayoutId id="2147484801" r:id="rId217"/>
    <p:sldLayoutId id="2147484802" r:id="rId218"/>
    <p:sldLayoutId id="2147484803" r:id="rId219"/>
    <p:sldLayoutId id="2147484804" r:id="rId220"/>
    <p:sldLayoutId id="2147484805" r:id="rId221"/>
    <p:sldLayoutId id="2147484806" r:id="rId222"/>
    <p:sldLayoutId id="2147484807" r:id="rId223"/>
    <p:sldLayoutId id="2147484808" r:id="rId224"/>
    <p:sldLayoutId id="2147484809" r:id="rId225"/>
    <p:sldLayoutId id="2147484810" r:id="rId226"/>
    <p:sldLayoutId id="2147484811" r:id="rId227"/>
    <p:sldLayoutId id="2147484812" r:id="rId228"/>
    <p:sldLayoutId id="2147484813" r:id="rId229"/>
    <p:sldLayoutId id="2147484814" r:id="rId230"/>
    <p:sldLayoutId id="2147492003" r:id="rId231"/>
    <p:sldLayoutId id="2147492004" r:id="rId232"/>
    <p:sldLayoutId id="2147492005" r:id="rId233"/>
    <p:sldLayoutId id="2147484818" r:id="rId234"/>
    <p:sldLayoutId id="2147484819" r:id="rId235"/>
    <p:sldLayoutId id="2147484820" r:id="rId236"/>
    <p:sldLayoutId id="2147484821" r:id="rId237"/>
    <p:sldLayoutId id="2147491998" r:id="rId238"/>
    <p:sldLayoutId id="2147484823" r:id="rId239"/>
    <p:sldLayoutId id="2147484824" r:id="rId240"/>
    <p:sldLayoutId id="2147484825" r:id="rId241"/>
    <p:sldLayoutId id="2147484826" r:id="rId242"/>
    <p:sldLayoutId id="2147484827" r:id="rId243"/>
    <p:sldLayoutId id="2147484828" r:id="rId244"/>
    <p:sldLayoutId id="2147484829" r:id="rId245"/>
    <p:sldLayoutId id="2147484830" r:id="rId246"/>
    <p:sldLayoutId id="2147484831" r:id="rId247"/>
    <p:sldLayoutId id="2147484832" r:id="rId248"/>
    <p:sldLayoutId id="2147484833" r:id="rId249"/>
    <p:sldLayoutId id="2147484834" r:id="rId250"/>
    <p:sldLayoutId id="2147484835" r:id="rId251"/>
    <p:sldLayoutId id="2147491974" r:id="rId252"/>
    <p:sldLayoutId id="2147491975" r:id="rId253"/>
    <p:sldLayoutId id="2147491963" r:id="rId254"/>
    <p:sldLayoutId id="2147491978" r:id="rId255"/>
    <p:sldLayoutId id="2147491965" r:id="rId256"/>
    <p:sldLayoutId id="2147484841" r:id="rId257"/>
    <p:sldLayoutId id="2147491982" r:id="rId258"/>
    <p:sldLayoutId id="2147484843" r:id="rId259"/>
    <p:sldLayoutId id="2147484844" r:id="rId260"/>
    <p:sldLayoutId id="2147491990" r:id="rId261"/>
    <p:sldLayoutId id="2147491991" r:id="rId262"/>
    <p:sldLayoutId id="2147491992" r:id="rId263"/>
    <p:sldLayoutId id="2147491997" r:id="rId264"/>
    <p:sldLayoutId id="2147491999" r:id="rId265"/>
    <p:sldLayoutId id="2147492000" r:id="rId266"/>
    <p:sldLayoutId id="2147492008" r:id="rId267"/>
    <p:sldLayoutId id="2147491989" r:id="rId268"/>
    <p:sldLayoutId id="2147491986" r:id="rId269"/>
    <p:sldLayoutId id="2147491987" r:id="rId270"/>
    <p:sldLayoutId id="2147491988" r:id="rId271"/>
    <p:sldLayoutId id="2147492006" r:id="rId272"/>
    <p:sldLayoutId id="2147492007" r:id="rId273"/>
    <p:sldLayoutId id="2147484858" r:id="rId274"/>
    <p:sldLayoutId id="2147484859" r:id="rId275"/>
    <p:sldLayoutId id="2147484860" r:id="rId276"/>
    <p:sldLayoutId id="2147484861" r:id="rId277"/>
    <p:sldLayoutId id="2147484862" r:id="rId278"/>
    <p:sldLayoutId id="2147484863" r:id="rId279"/>
    <p:sldLayoutId id="2147484864" r:id="rId280"/>
    <p:sldLayoutId id="2147484865" r:id="rId281"/>
    <p:sldLayoutId id="2147484866" r:id="rId282"/>
    <p:sldLayoutId id="2147484867" r:id="rId283"/>
    <p:sldLayoutId id="2147484868" r:id="rId284"/>
    <p:sldLayoutId id="2147484869" r:id="rId28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06409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032" r:id="rId5"/>
    <p:sldLayoutId id="2147487033" r:id="rId6"/>
    <p:sldLayoutId id="2147487034" r:id="rId7"/>
    <p:sldLayoutId id="2147487035" r:id="rId8"/>
    <p:sldLayoutId id="2147487036" r:id="rId9"/>
    <p:sldLayoutId id="2147487037" r:id="rId10"/>
    <p:sldLayoutId id="2147486097" r:id="rId11"/>
    <p:sldLayoutId id="2147486098" r:id="rId12"/>
    <p:sldLayoutId id="2147486099" r:id="rId13"/>
    <p:sldLayoutId id="2147486100" r:id="rId14"/>
    <p:sldLayoutId id="2147486104" r:id="rId15"/>
    <p:sldLayoutId id="2147486105" r:id="rId16"/>
    <p:sldLayoutId id="2147486106" r:id="rId17"/>
    <p:sldLayoutId id="2147486107" r:id="rId18"/>
    <p:sldLayoutId id="2147486088" r:id="rId19"/>
    <p:sldLayoutId id="2147486109" r:id="rId20"/>
    <p:sldLayoutId id="2147486110" r:id="rId21"/>
    <p:sldLayoutId id="2147491556" r:id="rId22"/>
    <p:sldLayoutId id="2147491557" r:id="rId23"/>
    <p:sldLayoutId id="2147483758" r:id="rId24"/>
    <p:sldLayoutId id="2147483759" r:id="rId25"/>
    <p:sldLayoutId id="2147483757" r:id="rId26"/>
    <p:sldLayoutId id="2147483764" r:id="rId27"/>
    <p:sldLayoutId id="2147483765" r:id="rId28"/>
    <p:sldLayoutId id="2147483766" r:id="rId29"/>
    <p:sldLayoutId id="2147487379" r:id="rId30"/>
    <p:sldLayoutId id="2147491713" r:id="rId31"/>
    <p:sldLayoutId id="2147491714" r:id="rId32"/>
    <p:sldLayoutId id="2147484627" r:id="rId33"/>
    <p:sldLayoutId id="2147488103" r:id="rId34"/>
    <p:sldLayoutId id="2147484838" r:id="rId35"/>
    <p:sldLayoutId id="2147488090" r:id="rId36"/>
    <p:sldLayoutId id="2147488091" r:id="rId37"/>
    <p:sldLayoutId id="2147488092" r:id="rId38"/>
    <p:sldLayoutId id="2147488093" r:id="rId39"/>
    <p:sldLayoutId id="2147488094" r:id="rId40"/>
    <p:sldLayoutId id="2147491518" r:id="rId41"/>
    <p:sldLayoutId id="2147484635" r:id="rId42"/>
    <p:sldLayoutId id="2147491520" r:id="rId43"/>
    <p:sldLayoutId id="2147491521" r:id="rId44"/>
    <p:sldLayoutId id="2147484840" r:id="rId45"/>
    <p:sldLayoutId id="2147486917" r:id="rId46"/>
    <p:sldLayoutId id="2147484203" r:id="rId47"/>
    <p:sldLayoutId id="2147484204" r:id="rId48"/>
    <p:sldLayoutId id="2147491526" r:id="rId49"/>
    <p:sldLayoutId id="2147491527" r:id="rId50"/>
    <p:sldLayoutId id="2147484237" r:id="rId51"/>
    <p:sldLayoutId id="2147484208" r:id="rId52"/>
    <p:sldLayoutId id="2147491532" r:id="rId53"/>
    <p:sldLayoutId id="2147491533" r:id="rId54"/>
    <p:sldLayoutId id="2147491534" r:id="rId55"/>
    <p:sldLayoutId id="2147485064" r:id="rId56"/>
    <p:sldLayoutId id="2147485065" r:id="rId57"/>
    <p:sldLayoutId id="2147486965" r:id="rId58"/>
    <p:sldLayoutId id="2147485066" r:id="rId59"/>
    <p:sldLayoutId id="2147485067" r:id="rId60"/>
    <p:sldLayoutId id="2147485068" r:id="rId61"/>
    <p:sldLayoutId id="2147485069" r:id="rId62"/>
    <p:sldLayoutId id="2147485352" r:id="rId63"/>
    <p:sldLayoutId id="2147485070" r:id="rId64"/>
    <p:sldLayoutId id="2147486030" r:id="rId65"/>
    <p:sldLayoutId id="2147485071" r:id="rId66"/>
    <p:sldLayoutId id="2147487168" r:id="rId67"/>
    <p:sldLayoutId id="2147484626" r:id="rId68"/>
    <p:sldLayoutId id="2147484836" r:id="rId69"/>
    <p:sldLayoutId id="2147484837" r:id="rId70"/>
    <p:sldLayoutId id="2147487169" r:id="rId71"/>
    <p:sldLayoutId id="2147484602" r:id="rId72"/>
    <p:sldLayoutId id="2147491498" r:id="rId73"/>
    <p:sldLayoutId id="2147484604" r:id="rId74"/>
    <p:sldLayoutId id="2147484839" r:id="rId75"/>
    <p:sldLayoutId id="2147488083" r:id="rId76"/>
    <p:sldLayoutId id="2147488084" r:id="rId77"/>
    <p:sldLayoutId id="2147488085" r:id="rId78"/>
    <p:sldLayoutId id="2147488086" r:id="rId79"/>
    <p:sldLayoutId id="2147488087" r:id="rId80"/>
    <p:sldLayoutId id="2147491540" r:id="rId81"/>
    <p:sldLayoutId id="2147488089" r:id="rId82"/>
    <p:sldLayoutId id="2147491542" r:id="rId83"/>
    <p:sldLayoutId id="2147491543" r:id="rId84"/>
    <p:sldLayoutId id="2147484559" r:id="rId85"/>
    <p:sldLayoutId id="2147491545" r:id="rId86"/>
    <p:sldLayoutId id="2147485406" r:id="rId87"/>
    <p:sldLayoutId id="2147484387" r:id="rId88"/>
    <p:sldLayoutId id="2147484388" r:id="rId89"/>
    <p:sldLayoutId id="2147491551" r:id="rId90"/>
    <p:sldLayoutId id="2147484389" r:id="rId91"/>
    <p:sldLayoutId id="2147484390" r:id="rId92"/>
    <p:sldLayoutId id="2147484392" r:id="rId93"/>
    <p:sldLayoutId id="2147486953" r:id="rId94"/>
    <p:sldLayoutId id="2147486205" r:id="rId95"/>
    <p:sldLayoutId id="2147486206" r:id="rId96"/>
    <p:sldLayoutId id="2147486207" r:id="rId97"/>
    <p:sldLayoutId id="2147486208" r:id="rId98"/>
    <p:sldLayoutId id="2147486209" r:id="rId99"/>
    <p:sldLayoutId id="2147484766" r:id="rId100"/>
    <p:sldLayoutId id="2147486426" r:id="rId101"/>
    <p:sldLayoutId id="2147486404" r:id="rId102"/>
    <p:sldLayoutId id="2147484767" r:id="rId103"/>
    <p:sldLayoutId id="2147486405" r:id="rId104"/>
    <p:sldLayoutId id="2147486406" r:id="rId105"/>
    <p:sldLayoutId id="2147486407" r:id="rId106"/>
    <p:sldLayoutId id="2147486408" r:id="rId107"/>
    <p:sldLayoutId id="2147486409" r:id="rId108"/>
    <p:sldLayoutId id="2147484768" r:id="rId109"/>
    <p:sldLayoutId id="2147486428" r:id="rId110"/>
    <p:sldLayoutId id="2147486200" r:id="rId111"/>
    <p:sldLayoutId id="2147486201" r:id="rId112"/>
    <p:sldLayoutId id="2147486202" r:id="rId113"/>
    <p:sldLayoutId id="2147486989" r:id="rId114"/>
    <p:sldLayoutId id="2147486203" r:id="rId115"/>
    <p:sldLayoutId id="2147484842" r:id="rId116"/>
    <p:sldLayoutId id="2147483751" r:id="rId117"/>
    <p:sldLayoutId id="2147483760" r:id="rId118"/>
    <p:sldLayoutId id="2147488102" r:id="rId119"/>
    <p:sldLayoutId id="2147484654" r:id="rId120"/>
    <p:sldLayoutId id="2147484655" r:id="rId121"/>
    <p:sldLayoutId id="2147484608" r:id="rId122"/>
    <p:sldLayoutId id="2147485213" r:id="rId123"/>
    <p:sldLayoutId id="2147485214" r:id="rId124"/>
    <p:sldLayoutId id="2147491678" r:id="rId125"/>
    <p:sldLayoutId id="2147491679" r:id="rId126"/>
    <p:sldLayoutId id="2147491680" r:id="rId127"/>
    <p:sldLayoutId id="2147491684" r:id="rId128"/>
    <p:sldLayoutId id="2147485179" r:id="rId129"/>
    <p:sldLayoutId id="2147485354" r:id="rId130"/>
    <p:sldLayoutId id="2147486926" r:id="rId131"/>
    <p:sldLayoutId id="2147486360" r:id="rId132"/>
    <p:sldLayoutId id="2147485556" r:id="rId133"/>
    <p:sldLayoutId id="2147491621" r:id="rId134"/>
    <p:sldLayoutId id="2147486361" r:id="rId135"/>
    <p:sldLayoutId id="2147487375" r:id="rId136"/>
    <p:sldLayoutId id="2147484335" r:id="rId137"/>
    <p:sldLayoutId id="2147484336" r:id="rId138"/>
    <p:sldLayoutId id="2147484337" r:id="rId139"/>
    <p:sldLayoutId id="2147484853" r:id="rId140"/>
    <p:sldLayoutId id="2147484339" r:id="rId141"/>
    <p:sldLayoutId id="2147484340" r:id="rId142"/>
    <p:sldLayoutId id="2147484341" r:id="rId143"/>
    <p:sldLayoutId id="2147484342" r:id="rId144"/>
    <p:sldLayoutId id="2147484343" r:id="rId145"/>
    <p:sldLayoutId id="2147484344" r:id="rId146"/>
    <p:sldLayoutId id="2147485468" r:id="rId147"/>
    <p:sldLayoutId id="2147488095" r:id="rId148"/>
    <p:sldLayoutId id="2147484364" r:id="rId149"/>
    <p:sldLayoutId id="2147485358" r:id="rId150"/>
    <p:sldLayoutId id="2147488096" r:id="rId151"/>
    <p:sldLayoutId id="2147488097" r:id="rId152"/>
    <p:sldLayoutId id="2147488098" r:id="rId153"/>
    <p:sldLayoutId id="2147485385" r:id="rId154"/>
    <p:sldLayoutId id="2147491588" r:id="rId155"/>
    <p:sldLayoutId id="2147485469" r:id="rId156"/>
    <p:sldLayoutId id="2147484570" r:id="rId157"/>
    <p:sldLayoutId id="2147484222" r:id="rId158"/>
    <p:sldLayoutId id="2147484854" r:id="rId159"/>
    <p:sldLayoutId id="2147484855" r:id="rId160"/>
    <p:sldLayoutId id="2147485079" r:id="rId161"/>
    <p:sldLayoutId id="2147485080" r:id="rId162"/>
    <p:sldLayoutId id="2147485081" r:id="rId163"/>
    <p:sldLayoutId id="2147491488" r:id="rId164"/>
    <p:sldLayoutId id="2147485083" r:id="rId165"/>
    <p:sldLayoutId id="2147491490" r:id="rId166"/>
    <p:sldLayoutId id="2147491491" r:id="rId167"/>
    <p:sldLayoutId id="2147484353" r:id="rId168"/>
    <p:sldLayoutId id="2147484852" r:id="rId169"/>
    <p:sldLayoutId id="2147485093" r:id="rId170"/>
    <p:sldLayoutId id="2147486929" r:id="rId171"/>
    <p:sldLayoutId id="2147485072" r:id="rId172"/>
    <p:sldLayoutId id="2147485355" r:id="rId173"/>
    <p:sldLayoutId id="2147487365" r:id="rId174"/>
    <p:sldLayoutId id="2147484356" r:id="rId175"/>
    <p:sldLayoutId id="2147483860" r:id="rId176"/>
    <p:sldLayoutId id="2147486993" r:id="rId177"/>
    <p:sldLayoutId id="2147484357" r:id="rId178"/>
    <p:sldLayoutId id="2147484358" r:id="rId179"/>
    <p:sldLayoutId id="2147484359" r:id="rId180"/>
    <p:sldLayoutId id="2147484360" r:id="rId181"/>
    <p:sldLayoutId id="2147491564" r:id="rId182"/>
    <p:sldLayoutId id="2147484361" r:id="rId183"/>
    <p:sldLayoutId id="2147484394" r:id="rId184"/>
    <p:sldLayoutId id="2147486423" r:id="rId185"/>
    <p:sldLayoutId id="2147486950" r:id="rId186"/>
    <p:sldLayoutId id="2147484845" r:id="rId187"/>
    <p:sldLayoutId id="2147484846" r:id="rId188"/>
    <p:sldLayoutId id="2147484566" r:id="rId189"/>
    <p:sldLayoutId id="2147485470" r:id="rId190"/>
    <p:sldLayoutId id="2147491598" r:id="rId191"/>
    <p:sldLayoutId id="2147491599" r:id="rId192"/>
    <p:sldLayoutId id="2147491600" r:id="rId193"/>
    <p:sldLayoutId id="2147484847" r:id="rId194"/>
    <p:sldLayoutId id="2147484245" r:id="rId195"/>
    <p:sldLayoutId id="2147484262" r:id="rId196"/>
    <p:sldLayoutId id="2147486955" r:id="rId197"/>
    <p:sldLayoutId id="2147485238" r:id="rId198"/>
    <p:sldLayoutId id="2147491606" r:id="rId199"/>
    <p:sldLayoutId id="2147484233" r:id="rId200"/>
    <p:sldLayoutId id="2147491608" r:id="rId201"/>
    <p:sldLayoutId id="2147491609" r:id="rId202"/>
    <p:sldLayoutId id="2147491610" r:id="rId203"/>
    <p:sldLayoutId id="2147486948" r:id="rId204"/>
    <p:sldLayoutId id="2147484774" r:id="rId205"/>
    <p:sldLayoutId id="2147484775" r:id="rId206"/>
    <p:sldLayoutId id="2147486425" r:id="rId207"/>
    <p:sldLayoutId id="2147484776" r:id="rId208"/>
    <p:sldLayoutId id="2147484777" r:id="rId209"/>
    <p:sldLayoutId id="2147486387" r:id="rId210"/>
    <p:sldLayoutId id="2147486389" r:id="rId211"/>
    <p:sldLayoutId id="2147486391" r:id="rId212"/>
    <p:sldLayoutId id="2147486949" r:id="rId213"/>
    <p:sldLayoutId id="2147486424" r:id="rId214"/>
    <p:sldLayoutId id="2147484848" r:id="rId215"/>
    <p:sldLayoutId id="2147486048" r:id="rId216"/>
    <p:sldLayoutId id="2147486954" r:id="rId217"/>
    <p:sldLayoutId id="2147484400" r:id="rId218"/>
    <p:sldLayoutId id="2147484401" r:id="rId219"/>
    <p:sldLayoutId id="2147491616" r:id="rId220"/>
    <p:sldLayoutId id="2147484822" r:id="rId221"/>
    <p:sldLayoutId id="2147486251" r:id="rId222"/>
    <p:sldLayoutId id="2147484849" r:id="rId223"/>
    <p:sldLayoutId id="2147484850" r:id="rId224"/>
    <p:sldLayoutId id="2147487351" r:id="rId225"/>
    <p:sldLayoutId id="2147486990" r:id="rId226"/>
    <p:sldLayoutId id="2147491625" r:id="rId227"/>
    <p:sldLayoutId id="2147484586" r:id="rId228"/>
    <p:sldLayoutId id="2147491627" r:id="rId229"/>
    <p:sldLayoutId id="2147484588" r:id="rId230"/>
    <p:sldLayoutId id="2147491629" r:id="rId231"/>
    <p:sldLayoutId id="2147491630" r:id="rId232"/>
    <p:sldLayoutId id="2147491631" r:id="rId233"/>
    <p:sldLayoutId id="2147491632" r:id="rId234"/>
    <p:sldLayoutId id="2147491633" r:id="rId235"/>
    <p:sldLayoutId id="2147491634" r:id="rId236"/>
    <p:sldLayoutId id="2147491635" r:id="rId237"/>
    <p:sldLayoutId id="2147491636" r:id="rId238"/>
    <p:sldLayoutId id="2147491637" r:id="rId239"/>
    <p:sldLayoutId id="2147491638" r:id="rId240"/>
    <p:sldLayoutId id="2147491639" r:id="rId241"/>
    <p:sldLayoutId id="2147491640" r:id="rId242"/>
    <p:sldLayoutId id="2147491641" r:id="rId243"/>
    <p:sldLayoutId id="2147491642" r:id="rId244"/>
    <p:sldLayoutId id="2147491643" r:id="rId245"/>
    <p:sldLayoutId id="2147491644" r:id="rId246"/>
    <p:sldLayoutId id="2147491645" r:id="rId247"/>
    <p:sldLayoutId id="2147491646" r:id="rId248"/>
    <p:sldLayoutId id="2147491647" r:id="rId249"/>
    <p:sldLayoutId id="2147491648" r:id="rId250"/>
    <p:sldLayoutId id="2147486221" r:id="rId251"/>
    <p:sldLayoutId id="2147483752" r:id="rId252"/>
    <p:sldLayoutId id="2147483753" r:id="rId253"/>
    <p:sldLayoutId id="2147483754" r:id="rId254"/>
    <p:sldLayoutId id="2147483755" r:id="rId255"/>
    <p:sldLayoutId id="2147484386" r:id="rId256"/>
    <p:sldLayoutId id="2147484815" r:id="rId257"/>
    <p:sldLayoutId id="2147484816" r:id="rId258"/>
    <p:sldLayoutId id="2147484817" r:id="rId259"/>
    <p:sldLayoutId id="2147484329" r:id="rId260"/>
    <p:sldLayoutId id="2147486396" r:id="rId261"/>
    <p:sldLayoutId id="2147486397" r:id="rId262"/>
    <p:sldLayoutId id="2147486418" r:id="rId263"/>
    <p:sldLayoutId id="2147484856" r:id="rId264"/>
    <p:sldLayoutId id="2147484480" r:id="rId265"/>
    <p:sldLayoutId id="2147484267" r:id="rId266"/>
    <p:sldLayoutId id="2147484481" r:id="rId267"/>
    <p:sldLayoutId id="2147484482" r:id="rId268"/>
    <p:sldLayoutId id="2147491654" r:id="rId269"/>
    <p:sldLayoutId id="2147484484" r:id="rId270"/>
    <p:sldLayoutId id="2147485270" r:id="rId271"/>
    <p:sldLayoutId id="2147485271" r:id="rId272"/>
    <p:sldLayoutId id="2147485272" r:id="rId273"/>
    <p:sldLayoutId id="2147484857" r:id="rId274"/>
    <p:sldLayoutId id="2147485273" r:id="rId275"/>
    <p:sldLayoutId id="2147485274" r:id="rId276"/>
    <p:sldLayoutId id="2147485275" r:id="rId277"/>
    <p:sldLayoutId id="2147485276" r:id="rId278"/>
    <p:sldLayoutId id="2147491579" r:id="rId279"/>
    <p:sldLayoutId id="2147485278" r:id="rId280"/>
    <p:sldLayoutId id="2147486991" r:id="rId281"/>
    <p:sldLayoutId id="2147486992" r:id="rId282"/>
    <p:sldLayoutId id="2147486252" r:id="rId283"/>
    <p:sldLayoutId id="2147486253" r:id="rId284"/>
    <p:sldLayoutId id="2147491658" r:id="rId285"/>
    <p:sldLayoutId id="2147491659" r:id="rId286"/>
    <p:sldLayoutId id="2147486364" r:id="rId287"/>
    <p:sldLayoutId id="2147486686" r:id="rId288"/>
    <p:sldLayoutId id="2147486687" r:id="rId289"/>
    <p:sldLayoutId id="2147487104" r:id="rId290"/>
    <p:sldLayoutId id="2147487326" r:id="rId291"/>
    <p:sldLayoutId id="2147486688" r:id="rId292"/>
    <p:sldLayoutId id="2147486102" r:id="rId293"/>
    <p:sldLayoutId id="2147486103" r:id="rId294"/>
    <p:sldLayoutId id="2147486689" r:id="rId295"/>
    <p:sldLayoutId id="2147486690" r:id="rId296"/>
    <p:sldLayoutId id="2147486691" r:id="rId297"/>
    <p:sldLayoutId id="2147486692" r:id="rId298"/>
    <p:sldLayoutId id="2147486693" r:id="rId299"/>
    <p:sldLayoutId id="2147483873" r:id="rId300"/>
    <p:sldLayoutId id="2147486111" r:id="rId301"/>
    <p:sldLayoutId id="2147487178" r:id="rId302"/>
    <p:sldLayoutId id="2147486112" r:id="rId303"/>
    <p:sldLayoutId id="2147486113" r:id="rId304"/>
    <p:sldLayoutId id="2147487180" r:id="rId305"/>
    <p:sldLayoutId id="2147487039" r:id="rId306"/>
    <p:sldLayoutId id="2147487182" r:id="rId307"/>
    <p:sldLayoutId id="2147487183" r:id="rId308"/>
    <p:sldLayoutId id="2147487184" r:id="rId309"/>
    <p:sldLayoutId id="2147487185" r:id="rId310"/>
    <p:sldLayoutId id="2147487040" r:id="rId311"/>
    <p:sldLayoutId id="2147487041" r:id="rId312"/>
    <p:sldLayoutId id="2147487188" r:id="rId313"/>
    <p:sldLayoutId id="2147487189" r:id="rId314"/>
    <p:sldLayoutId id="2147487190" r:id="rId315"/>
    <p:sldLayoutId id="2147487042" r:id="rId316"/>
    <p:sldLayoutId id="2147487192" r:id="rId317"/>
    <p:sldLayoutId id="2147487193" r:id="rId318"/>
    <p:sldLayoutId id="2147487043" r:id="rId319"/>
    <p:sldLayoutId id="2147486114" r:id="rId320"/>
    <p:sldLayoutId id="2147486115" r:id="rId321"/>
    <p:sldLayoutId id="2147486116" r:id="rId322"/>
    <p:sldLayoutId id="2147486117" r:id="rId323"/>
    <p:sldLayoutId id="2147486118" r:id="rId324"/>
    <p:sldLayoutId id="2147486119" r:id="rId325"/>
    <p:sldLayoutId id="2147486121" r:id="rId326"/>
    <p:sldLayoutId id="2147486122" r:id="rId327"/>
    <p:sldLayoutId id="2147486123" r:id="rId328"/>
    <p:sldLayoutId id="2147486124" r:id="rId329"/>
    <p:sldLayoutId id="2147483932" r:id="rId330"/>
    <p:sldLayoutId id="2147486126" r:id="rId331"/>
    <p:sldLayoutId id="2147483934" r:id="rId332"/>
    <p:sldLayoutId id="2147483935" r:id="rId333"/>
    <p:sldLayoutId id="2147486127" r:id="rId334"/>
    <p:sldLayoutId id="2147486128" r:id="rId335"/>
    <p:sldLayoutId id="2147486129" r:id="rId336"/>
    <p:sldLayoutId id="2147486130" r:id="rId337"/>
    <p:sldLayoutId id="2147486131" r:id="rId338"/>
    <p:sldLayoutId id="2147486132" r:id="rId339"/>
    <p:sldLayoutId id="2147486133" r:id="rId340"/>
    <p:sldLayoutId id="2147486134" r:id="rId341"/>
    <p:sldLayoutId id="2147486135" r:id="rId342"/>
    <p:sldLayoutId id="2147486136" r:id="rId343"/>
    <p:sldLayoutId id="2147487052" r:id="rId344"/>
    <p:sldLayoutId id="2147487053" r:id="rId345"/>
    <p:sldLayoutId id="2147486137" r:id="rId346"/>
    <p:sldLayoutId id="2147483986" r:id="rId347"/>
    <p:sldLayoutId id="2147483987" r:id="rId348"/>
    <p:sldLayoutId id="2147483988" r:id="rId349"/>
    <p:sldLayoutId id="2147483989" r:id="rId350"/>
    <p:sldLayoutId id="2147483990" r:id="rId351"/>
    <p:sldLayoutId id="2147483991" r:id="rId352"/>
    <p:sldLayoutId id="2147486138" r:id="rId353"/>
    <p:sldLayoutId id="2147486139" r:id="rId354"/>
    <p:sldLayoutId id="2147487206" r:id="rId355"/>
    <p:sldLayoutId id="2147486140" r:id="rId356"/>
    <p:sldLayoutId id="2147486141" r:id="rId357"/>
    <p:sldLayoutId id="2147486142" r:id="rId358"/>
    <p:sldLayoutId id="2147486143" r:id="rId359"/>
    <p:sldLayoutId id="2147486144" r:id="rId360"/>
    <p:sldLayoutId id="2147486147" r:id="rId361"/>
    <p:sldLayoutId id="2147486148" r:id="rId362"/>
    <p:sldLayoutId id="2147486149" r:id="rId363"/>
    <p:sldLayoutId id="2147486150" r:id="rId364"/>
    <p:sldLayoutId id="2147486151" r:id="rId365"/>
    <p:sldLayoutId id="2147486152" r:id="rId366"/>
    <p:sldLayoutId id="2147486153" r:id="rId367"/>
    <p:sldLayoutId id="2147486154" r:id="rId368"/>
    <p:sldLayoutId id="2147486155" r:id="rId369"/>
    <p:sldLayoutId id="2147483876" r:id="rId370"/>
    <p:sldLayoutId id="2147483877" r:id="rId371"/>
    <p:sldLayoutId id="2147483878" r:id="rId372"/>
    <p:sldLayoutId id="2147483879" r:id="rId373"/>
    <p:sldLayoutId id="2147483880" r:id="rId374"/>
    <p:sldLayoutId id="2147483881" r:id="rId375"/>
    <p:sldLayoutId id="2147483882" r:id="rId376"/>
    <p:sldLayoutId id="2147483883" r:id="rId377"/>
    <p:sldLayoutId id="2147483884" r:id="rId378"/>
    <p:sldLayoutId id="2147483885" r:id="rId379"/>
    <p:sldLayoutId id="2147483886" r:id="rId380"/>
    <p:sldLayoutId id="2147483887" r:id="rId381"/>
    <p:sldLayoutId id="2147483888" r:id="rId382"/>
    <p:sldLayoutId id="2147483889" r:id="rId383"/>
    <p:sldLayoutId id="2147483890" r:id="rId384"/>
    <p:sldLayoutId id="2147483891" r:id="rId385"/>
    <p:sldLayoutId id="2147483892" r:id="rId386"/>
    <p:sldLayoutId id="2147483893" r:id="rId387"/>
    <p:sldLayoutId id="2147483894" r:id="rId388"/>
    <p:sldLayoutId id="2147483895" r:id="rId389"/>
    <p:sldLayoutId id="2147483896" r:id="rId390"/>
    <p:sldLayoutId id="2147483897" r:id="rId391"/>
    <p:sldLayoutId id="2147483898" r:id="rId392"/>
    <p:sldLayoutId id="2147483899" r:id="rId393"/>
    <p:sldLayoutId id="2147483900" r:id="rId394"/>
    <p:sldLayoutId id="2147483901" r:id="rId395"/>
    <p:sldLayoutId id="2147483902" r:id="rId396"/>
    <p:sldLayoutId id="2147483903" r:id="rId397"/>
    <p:sldLayoutId id="2147483904" r:id="rId398"/>
    <p:sldLayoutId id="2147483905" r:id="rId399"/>
    <p:sldLayoutId id="2147483906" r:id="rId400"/>
    <p:sldLayoutId id="2147483907" r:id="rId401"/>
    <p:sldLayoutId id="2147487126" r:id="rId402"/>
    <p:sldLayoutId id="2147487128" r:id="rId403"/>
    <p:sldLayoutId id="2147487129" r:id="rId404"/>
    <p:sldLayoutId id="2147487127" r:id="rId405"/>
    <p:sldLayoutId id="2147487131" r:id="rId406"/>
    <p:sldLayoutId id="2147487132" r:id="rId407"/>
    <p:sldLayoutId id="2147487133" r:id="rId408"/>
    <p:sldLayoutId id="2147486175" r:id="rId409"/>
    <p:sldLayoutId id="2147486177" r:id="rId410"/>
    <p:sldLayoutId id="2147486188" r:id="rId411"/>
    <p:sldLayoutId id="2147486191" r:id="rId412"/>
    <p:sldLayoutId id="2147491711" r:id="rId413"/>
    <p:sldLayoutId id="2147486987" r:id="rId414"/>
    <p:sldLayoutId id="2147487355" r:id="rId415"/>
    <p:sldLayoutId id="2147487369" r:id="rId416"/>
    <p:sldLayoutId id="2147487356" r:id="rId417"/>
    <p:sldLayoutId id="2147487357" r:id="rId418"/>
    <p:sldLayoutId id="2147487358" r:id="rId419"/>
    <p:sldLayoutId id="2147485074" r:id="rId420"/>
    <p:sldLayoutId id="2147485075" r:id="rId421"/>
    <p:sldLayoutId id="2147485076" r:id="rId422"/>
    <p:sldLayoutId id="2147485077" r:id="rId423"/>
    <p:sldLayoutId id="2147485078" r:id="rId424"/>
    <p:sldLayoutId id="2147484851" r:id="rId425"/>
    <p:sldLayoutId id="2147487362" r:id="rId426"/>
    <p:sldLayoutId id="2147487360" r:id="rId427"/>
    <p:sldLayoutId id="2147491712" r:id="rId428"/>
    <p:sldLayoutId id="2147487359" r:id="rId429"/>
    <p:sldLayoutId id="2147486192" r:id="rId430"/>
    <p:sldLayoutId id="2147486196" r:id="rId431"/>
    <p:sldLayoutId id="2147487007" r:id="rId432"/>
    <p:sldLayoutId id="2147491662" r:id="rId433"/>
    <p:sldLayoutId id="2147483940" r:id="rId434"/>
    <p:sldLayoutId id="2147486366" r:id="rId435"/>
    <p:sldLayoutId id="2147486197" r:id="rId436"/>
    <p:sldLayoutId id="2147486198" r:id="rId437"/>
    <p:sldLayoutId id="2147491812" r:id="rId438"/>
    <p:sldLayoutId id="2147491813" r:id="rId439"/>
    <p:sldLayoutId id="2147483944" r:id="rId440"/>
    <p:sldLayoutId id="2147483945" r:id="rId441"/>
    <p:sldLayoutId id="2147483949" r:id="rId442"/>
    <p:sldLayoutId id="2147483954" r:id="rId443"/>
    <p:sldLayoutId id="2147483955" r:id="rId444"/>
    <p:sldLayoutId id="2147483960" r:id="rId445"/>
    <p:sldLayoutId id="2147483967" r:id="rId446"/>
    <p:sldLayoutId id="2147483968" r:id="rId447"/>
    <p:sldLayoutId id="2147483969" r:id="rId448"/>
    <p:sldLayoutId id="2147483970" r:id="rId449"/>
    <p:sldLayoutId id="2147491814" r:id="rId450"/>
    <p:sldLayoutId id="2147486204" r:id="rId451"/>
    <p:sldLayoutId id="2147491795" r:id="rId452"/>
    <p:sldLayoutId id="2147491796" r:id="rId453"/>
    <p:sldLayoutId id="2147491797" r:id="rId454"/>
    <p:sldLayoutId id="2147491798" r:id="rId455"/>
    <p:sldLayoutId id="2147491799" r:id="rId456"/>
    <p:sldLayoutId id="2147486210" r:id="rId457"/>
    <p:sldLayoutId id="2147486211" r:id="rId458"/>
    <p:sldLayoutId id="2147486212" r:id="rId459"/>
    <p:sldLayoutId id="2147486213" r:id="rId460"/>
    <p:sldLayoutId id="2147486214" r:id="rId461"/>
    <p:sldLayoutId id="2147486215" r:id="rId462"/>
    <p:sldLayoutId id="2147486217" r:id="rId463"/>
    <p:sldLayoutId id="2147483994" r:id="rId464"/>
    <p:sldLayoutId id="2147483995" r:id="rId465"/>
    <p:sldLayoutId id="2147486218" r:id="rId466"/>
    <p:sldLayoutId id="2147486219" r:id="rId467"/>
    <p:sldLayoutId id="2147491885" r:id="rId468"/>
    <p:sldLayoutId id="2147486223" r:id="rId469"/>
    <p:sldLayoutId id="2147486224" r:id="rId470"/>
    <p:sldLayoutId id="2147486225" r:id="rId471"/>
    <p:sldLayoutId id="2147486226" r:id="rId472"/>
    <p:sldLayoutId id="2147484000" r:id="rId473"/>
    <p:sldLayoutId id="2147486228" r:id="rId474"/>
    <p:sldLayoutId id="2147484652" r:id="rId475"/>
    <p:sldLayoutId id="2147484653" r:id="rId476"/>
    <p:sldLayoutId id="2147491666" r:id="rId477"/>
    <p:sldLayoutId id="2147487008" r:id="rId478"/>
    <p:sldLayoutId id="2147487009" r:id="rId479"/>
    <p:sldLayoutId id="2147487010" r:id="rId480"/>
    <p:sldLayoutId id="2147487011" r:id="rId481"/>
    <p:sldLayoutId id="2147487012" r:id="rId482"/>
    <p:sldLayoutId id="2147487013" r:id="rId483"/>
    <p:sldLayoutId id="2147484999" r:id="rId484"/>
    <p:sldLayoutId id="2147485001" r:id="rId485"/>
    <p:sldLayoutId id="2147485002" r:id="rId486"/>
    <p:sldLayoutId id="2147492017" r:id="rId487"/>
    <p:sldLayoutId id="2147492018" r:id="rId488"/>
    <p:sldLayoutId id="2147492019" r:id="rId489"/>
    <p:sldLayoutId id="2147486419" r:id="rId490"/>
    <p:sldLayoutId id="2147486079" r:id="rId491"/>
    <p:sldLayoutId id="2147487352" r:id="rId492"/>
    <p:sldLayoutId id="2147491710" r:id="rId493"/>
    <p:sldLayoutId id="2147487353" r:id="rId494"/>
    <p:sldLayoutId id="2147487354" r:id="rId495"/>
    <p:sldLayoutId id="2147485215" r:id="rId496"/>
    <p:sldLayoutId id="2147488105" r:id="rId497"/>
    <p:sldLayoutId id="2147488106" r:id="rId498"/>
    <p:sldLayoutId id="2147491687" r:id="rId499"/>
    <p:sldLayoutId id="2147491688" r:id="rId500"/>
    <p:sldLayoutId id="2147484354" r:id="rId501"/>
    <p:sldLayoutId id="2147484572" r:id="rId502"/>
    <p:sldLayoutId id="2147484376" r:id="rId503"/>
    <p:sldLayoutId id="2147488107" r:id="rId504"/>
    <p:sldLayoutId id="2147488108" r:id="rId505"/>
    <p:sldLayoutId id="2147488104" r:id="rId506"/>
    <p:sldLayoutId id="2147485393" r:id="rId507"/>
    <p:sldLayoutId id="2147485394" r:id="rId508"/>
    <p:sldLayoutId id="2147485395" r:id="rId509"/>
    <p:sldLayoutId id="2147486284" r:id="rId510"/>
    <p:sldLayoutId id="2147484378" r:id="rId511"/>
    <p:sldLayoutId id="2147484379" r:id="rId512"/>
    <p:sldLayoutId id="2147485396" r:id="rId513"/>
    <p:sldLayoutId id="2147488079" r:id="rId514"/>
    <p:sldLayoutId id="2147488109" r:id="rId515"/>
    <p:sldLayoutId id="2147486231" r:id="rId516"/>
    <p:sldLayoutId id="2147486235" r:id="rId517"/>
    <p:sldLayoutId id="2147486236" r:id="rId518"/>
    <p:sldLayoutId id="2147486237" r:id="rId519"/>
    <p:sldLayoutId id="2147486240" r:id="rId520"/>
    <p:sldLayoutId id="2147486241" r:id="rId521"/>
    <p:sldLayoutId id="2147486242" r:id="rId522"/>
    <p:sldLayoutId id="2147486243" r:id="rId523"/>
    <p:sldLayoutId id="2147486244" r:id="rId524"/>
    <p:sldLayoutId id="2147486245" r:id="rId525"/>
    <p:sldLayoutId id="2147486246" r:id="rId526"/>
    <p:sldLayoutId id="2147486247" r:id="rId527"/>
    <p:sldLayoutId id="2147487214" r:id="rId528"/>
    <p:sldLayoutId id="2147487215" r:id="rId529"/>
    <p:sldLayoutId id="2147486248" r:id="rId530"/>
    <p:sldLayoutId id="2147486249" r:id="rId531"/>
    <p:sldLayoutId id="2147486250" r:id="rId532"/>
    <p:sldLayoutId id="2147491880" r:id="rId533"/>
    <p:sldLayoutId id="2147487224" r:id="rId534"/>
    <p:sldLayoutId id="2147491913" r:id="rId535"/>
    <p:sldLayoutId id="2147487226" r:id="rId536"/>
    <p:sldLayoutId id="2147491914" r:id="rId537"/>
    <p:sldLayoutId id="2147486254" r:id="rId538"/>
    <p:sldLayoutId id="2147486255" r:id="rId539"/>
    <p:sldLayoutId id="2147487229" r:id="rId540"/>
    <p:sldLayoutId id="2147486257" r:id="rId541"/>
    <p:sldLayoutId id="2147486258" r:id="rId542"/>
    <p:sldLayoutId id="2147486259" r:id="rId543"/>
    <p:sldLayoutId id="2147486260" r:id="rId544"/>
    <p:sldLayoutId id="2147486261" r:id="rId545"/>
    <p:sldLayoutId id="2147486262" r:id="rId546"/>
    <p:sldLayoutId id="2147487236" r:id="rId547"/>
    <p:sldLayoutId id="2147487237" r:id="rId548"/>
    <p:sldLayoutId id="2147486263" r:id="rId549"/>
    <p:sldLayoutId id="2147486264" r:id="rId550"/>
    <p:sldLayoutId id="2147486265" r:id="rId551"/>
    <p:sldLayoutId id="2147486266" r:id="rId552"/>
    <p:sldLayoutId id="2147486267" r:id="rId553"/>
    <p:sldLayoutId id="2147486268" r:id="rId554"/>
    <p:sldLayoutId id="2147486269" r:id="rId555"/>
    <p:sldLayoutId id="2147486270" r:id="rId556"/>
    <p:sldLayoutId id="2147486271" r:id="rId557"/>
    <p:sldLayoutId id="2147486272" r:id="rId558"/>
    <p:sldLayoutId id="2147487246" r:id="rId559"/>
    <p:sldLayoutId id="2147487064" r:id="rId560"/>
    <p:sldLayoutId id="2147486273" r:id="rId561"/>
    <p:sldLayoutId id="2147486274" r:id="rId562"/>
    <p:sldLayoutId id="2147486275" r:id="rId563"/>
    <p:sldLayoutId id="2147486276" r:id="rId564"/>
    <p:sldLayoutId id="2147486277" r:id="rId565"/>
    <p:sldLayoutId id="2147486278" r:id="rId566"/>
    <p:sldLayoutId id="2147486279" r:id="rId567"/>
    <p:sldLayoutId id="2147487253" r:id="rId568"/>
    <p:sldLayoutId id="2147486281" r:id="rId569"/>
    <p:sldLayoutId id="2147486282" r:id="rId570"/>
    <p:sldLayoutId id="2147486283" r:id="rId571"/>
    <p:sldLayoutId id="2147491961" r:id="rId572"/>
    <p:sldLayoutId id="2147487069" r:id="rId573"/>
    <p:sldLayoutId id="2147486285" r:id="rId574"/>
    <p:sldLayoutId id="2147487265" r:id="rId575"/>
    <p:sldLayoutId id="2147487266" r:id="rId576"/>
    <p:sldLayoutId id="2147486286" r:id="rId577"/>
    <p:sldLayoutId id="2147486287" r:id="rId578"/>
    <p:sldLayoutId id="2147486288" r:id="rId579"/>
    <p:sldLayoutId id="2147486289" r:id="rId580"/>
    <p:sldLayoutId id="2147486290" r:id="rId581"/>
    <p:sldLayoutId id="2147486291" r:id="rId582"/>
    <p:sldLayoutId id="2147486293" r:id="rId583"/>
    <p:sldLayoutId id="2147486294" r:id="rId584"/>
    <p:sldLayoutId id="2147486295" r:id="rId585"/>
    <p:sldLayoutId id="2147487077" r:id="rId586"/>
    <p:sldLayoutId id="2147486296" r:id="rId587"/>
    <p:sldLayoutId id="2147486297" r:id="rId588"/>
    <p:sldLayoutId id="2147486298" r:id="rId589"/>
    <p:sldLayoutId id="2147486299" r:id="rId590"/>
    <p:sldLayoutId id="2147486300" r:id="rId591"/>
    <p:sldLayoutId id="2147486301" r:id="rId592"/>
    <p:sldLayoutId id="2147487275" r:id="rId593"/>
    <p:sldLayoutId id="2147487276" r:id="rId594"/>
    <p:sldLayoutId id="2147486302" r:id="rId595"/>
    <p:sldLayoutId id="2147486303" r:id="rId596"/>
    <p:sldLayoutId id="2147486304" r:id="rId597"/>
    <p:sldLayoutId id="2147486305" r:id="rId598"/>
    <p:sldLayoutId id="2147487080" r:id="rId599"/>
    <p:sldLayoutId id="2147486307" r:id="rId600"/>
    <p:sldLayoutId id="2147486308" r:id="rId601"/>
    <p:sldLayoutId id="2147486309" r:id="rId602"/>
    <p:sldLayoutId id="2147486310" r:id="rId603"/>
    <p:sldLayoutId id="2147486311" r:id="rId604"/>
    <p:sldLayoutId id="2147486312" r:id="rId605"/>
    <p:sldLayoutId id="2147487087" r:id="rId606"/>
    <p:sldLayoutId id="2147487088" r:id="rId607"/>
    <p:sldLayoutId id="2147487089" r:id="rId608"/>
    <p:sldLayoutId id="2147487090" r:id="rId609"/>
    <p:sldLayoutId id="2147487290" r:id="rId610"/>
    <p:sldLayoutId id="2147487291" r:id="rId611"/>
    <p:sldLayoutId id="2147487292" r:id="rId612"/>
    <p:sldLayoutId id="2147487294" r:id="rId613"/>
    <p:sldLayoutId id="2147487295" r:id="rId614"/>
    <p:sldLayoutId id="2147487296" r:id="rId615"/>
    <p:sldLayoutId id="2147487297" r:id="rId616"/>
    <p:sldLayoutId id="2147487298" r:id="rId617"/>
    <p:sldLayoutId id="2147487299" r:id="rId618"/>
    <p:sldLayoutId id="2147487300" r:id="rId619"/>
    <p:sldLayoutId id="2147487301" r:id="rId620"/>
    <p:sldLayoutId id="2147487092" r:id="rId621"/>
    <p:sldLayoutId id="2147487303" r:id="rId622"/>
    <p:sldLayoutId id="2147487304" r:id="rId623"/>
    <p:sldLayoutId id="2147487305" r:id="rId624"/>
    <p:sldLayoutId id="2147487306" r:id="rId625"/>
    <p:sldLayoutId id="2147487307" r:id="rId626"/>
    <p:sldLayoutId id="2147487308" r:id="rId627"/>
    <p:sldLayoutId id="2147487093" r:id="rId628"/>
    <p:sldLayoutId id="2147487310" r:id="rId629"/>
    <p:sldLayoutId id="2147487311" r:id="rId630"/>
    <p:sldLayoutId id="2147486313" r:id="rId631"/>
    <p:sldLayoutId id="2147486314" r:id="rId632"/>
    <p:sldLayoutId id="2147486315" r:id="rId633"/>
    <p:sldLayoutId id="2147486316" r:id="rId634"/>
    <p:sldLayoutId id="2147486317" r:id="rId635"/>
    <p:sldLayoutId id="2147486318" r:id="rId636"/>
    <p:sldLayoutId id="2147487107" r:id="rId637"/>
    <p:sldLayoutId id="2147486320" r:id="rId638"/>
    <p:sldLayoutId id="2147486321" r:id="rId639"/>
    <p:sldLayoutId id="2147486322" r:id="rId640"/>
    <p:sldLayoutId id="2147486323" r:id="rId641"/>
    <p:sldLayoutId id="2147486324" r:id="rId642"/>
    <p:sldLayoutId id="2147486325" r:id="rId643"/>
    <p:sldLayoutId id="2147486326" r:id="rId644"/>
    <p:sldLayoutId id="2147486327" r:id="rId645"/>
    <p:sldLayoutId id="2147487120" r:id="rId646"/>
    <p:sldLayoutId id="2147486329" r:id="rId647"/>
    <p:sldLayoutId id="2147486330" r:id="rId648"/>
    <p:sldLayoutId id="2147486331" r:id="rId649"/>
    <p:sldLayoutId id="2147486332" r:id="rId650"/>
    <p:sldLayoutId id="2147486334" r:id="rId651"/>
    <p:sldLayoutId id="2147486335" r:id="rId652"/>
    <p:sldLayoutId id="2147486336" r:id="rId653"/>
    <p:sldLayoutId id="2147486337" r:id="rId654"/>
    <p:sldLayoutId id="2147486338" r:id="rId655"/>
    <p:sldLayoutId id="2147486339" r:id="rId656"/>
    <p:sldLayoutId id="2147483851" r:id="rId657"/>
    <p:sldLayoutId id="2147483852" r:id="rId658"/>
    <p:sldLayoutId id="2147483853" r:id="rId659"/>
    <p:sldLayoutId id="2147483854" r:id="rId660"/>
    <p:sldLayoutId id="2147483855" r:id="rId661"/>
    <p:sldLayoutId id="2147483856" r:id="rId662"/>
    <p:sldLayoutId id="2147483857" r:id="rId663"/>
    <p:sldLayoutId id="2147483858" r:id="rId664"/>
    <p:sldLayoutId id="2147483859" r:id="rId665"/>
    <p:sldLayoutId id="2147487005" r:id="rId666"/>
    <p:sldLayoutId id="2147483861" r:id="rId667"/>
    <p:sldLayoutId id="2147486340" r:id="rId668"/>
    <p:sldLayoutId id="2147486341" r:id="rId669"/>
    <p:sldLayoutId id="2147486342" r:id="rId670"/>
    <p:sldLayoutId id="2147486344" r:id="rId671"/>
    <p:sldLayoutId id="2147486345" r:id="rId672"/>
    <p:sldLayoutId id="2147486346" r:id="rId673"/>
    <p:sldLayoutId id="2147486347" r:id="rId674"/>
    <p:sldLayoutId id="2147486348" r:id="rId675"/>
    <p:sldLayoutId id="2147486349" r:id="rId676"/>
    <p:sldLayoutId id="2147486351" r:id="rId677"/>
    <p:sldLayoutId id="2147486352" r:id="rId678"/>
    <p:sldLayoutId id="2147486353" r:id="rId679"/>
    <p:sldLayoutId id="2147486354" r:id="rId680"/>
    <p:sldLayoutId id="2147486355" r:id="rId681"/>
    <p:sldLayoutId id="2147486356" r:id="rId682"/>
    <p:sldLayoutId id="2147486357" r:id="rId683"/>
    <p:sldLayoutId id="2147486358" r:id="rId684"/>
    <p:sldLayoutId id="2147486359" r:id="rId685"/>
    <p:sldLayoutId id="2147491825" r:id="rId686"/>
    <p:sldLayoutId id="2147491827" r:id="rId687"/>
    <p:sldLayoutId id="2147486362" r:id="rId688"/>
    <p:sldLayoutId id="2147486363" r:id="rId689"/>
    <p:sldLayoutId id="2147491915" r:id="rId690"/>
    <p:sldLayoutId id="2147486365" r:id="rId691"/>
    <p:sldLayoutId id="2147491917" r:id="rId692"/>
    <p:sldLayoutId id="2147486367" r:id="rId693"/>
    <p:sldLayoutId id="2147486368" r:id="rId694"/>
    <p:sldLayoutId id="2147486369" r:id="rId695"/>
    <p:sldLayoutId id="2147486370" r:id="rId696"/>
    <p:sldLayoutId id="2147486371" r:id="rId697"/>
    <p:sldLayoutId id="2147486372" r:id="rId698"/>
    <p:sldLayoutId id="2147486373" r:id="rId699"/>
    <p:sldLayoutId id="2147486374" r:id="rId700"/>
    <p:sldLayoutId id="2147486375" r:id="rId701"/>
    <p:sldLayoutId id="2147486376" r:id="rId702"/>
    <p:sldLayoutId id="2147486377" r:id="rId703"/>
    <p:sldLayoutId id="2147486378" r:id="rId704"/>
    <p:sldLayoutId id="2147486379" r:id="rId705"/>
    <p:sldLayoutId id="2147486380" r:id="rId706"/>
    <p:sldLayoutId id="2147486381" r:id="rId707"/>
    <p:sldLayoutId id="2147487142" r:id="rId708"/>
    <p:sldLayoutId id="2147483925" r:id="rId709"/>
    <p:sldLayoutId id="2147486382" r:id="rId710"/>
    <p:sldLayoutId id="2147486383" r:id="rId711"/>
    <p:sldLayoutId id="2147486384" r:id="rId712"/>
    <p:sldLayoutId id="2147486385" r:id="rId713"/>
    <p:sldLayoutId id="2147486386" r:id="rId714"/>
    <p:sldLayoutId id="2147491871" r:id="rId715"/>
    <p:sldLayoutId id="2147487116" r:id="rId716"/>
    <p:sldLayoutId id="2147487117" r:id="rId717"/>
    <p:sldLayoutId id="2147487118" r:id="rId718"/>
    <p:sldLayoutId id="2147486388" r:id="rId719"/>
    <p:sldLayoutId id="2147486390" r:id="rId720"/>
    <p:sldLayoutId id="2147486393" r:id="rId721"/>
    <p:sldLayoutId id="2147491895" r:id="rId722"/>
    <p:sldLayoutId id="2147491896" r:id="rId723"/>
    <p:sldLayoutId id="2147486400" r:id="rId724"/>
    <p:sldLayoutId id="2147486403" r:id="rId725"/>
    <p:sldLayoutId id="2147491808" r:id="rId726"/>
    <p:sldLayoutId id="2147486410" r:id="rId727"/>
    <p:sldLayoutId id="2147486411" r:id="rId728"/>
    <p:sldLayoutId id="2147483974" r:id="rId729"/>
    <p:sldLayoutId id="2147483975" r:id="rId730"/>
    <p:sldLayoutId id="2147483976" r:id="rId731"/>
    <p:sldLayoutId id="2147486412" r:id="rId732"/>
    <p:sldLayoutId id="2147486413" r:id="rId733"/>
    <p:sldLayoutId id="2147483978" r:id="rId734"/>
    <p:sldLayoutId id="2147483979" r:id="rId735"/>
    <p:sldLayoutId id="2147483980" r:id="rId736"/>
    <p:sldLayoutId id="2147483981" r:id="rId737"/>
    <p:sldLayoutId id="2147483982" r:id="rId738"/>
    <p:sldLayoutId id="2147486414" r:id="rId739"/>
    <p:sldLayoutId id="2147486417" r:id="rId740"/>
    <p:sldLayoutId id="2147486420" r:id="rId741"/>
    <p:sldLayoutId id="2147486421" r:id="rId742"/>
    <p:sldLayoutId id="2147487099" r:id="rId743"/>
  </p:sldLayoutIdLst>
  <p:hf hdr="0" dt="0"/>
  <p:txStyles>
    <p:titleStyle>
      <a:lvl1pPr algn="l" defTabSz="1371600" rtl="0" eaLnBrk="1" latinLnBrk="0" hangingPunct="1">
        <a:lnSpc>
          <a:spcPct val="100000"/>
        </a:lnSpc>
        <a:spcBef>
          <a:spcPct val="0"/>
        </a:spcBef>
        <a:buNone/>
        <a:defRPr sz="54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342900" indent="-342900" algn="l" defTabSz="1371600" rtl="0" eaLnBrk="1" latinLnBrk="0" hangingPunct="1">
        <a:lnSpc>
          <a:spcPct val="100000"/>
        </a:lnSpc>
        <a:spcBef>
          <a:spcPts val="1500"/>
        </a:spcBef>
        <a:spcAft>
          <a:spcPts val="1500"/>
        </a:spcAft>
        <a:buClr>
          <a:schemeClr val="accent2"/>
        </a:buClr>
        <a:buFont typeface="Arial" panose="020B0604020202020204" pitchFamily="34" charset="0"/>
        <a:buChar char="•"/>
        <a:defRPr sz="3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1028700" indent="-342900" algn="l" defTabSz="1371600" rtl="0" eaLnBrk="1" latinLnBrk="0" hangingPunct="1">
        <a:lnSpc>
          <a:spcPct val="100000"/>
        </a:lnSpc>
        <a:spcBef>
          <a:spcPts val="750"/>
        </a:spcBef>
        <a:spcAft>
          <a:spcPts val="1500"/>
        </a:spcAft>
        <a:buClr>
          <a:schemeClr val="accent1"/>
        </a:buClr>
        <a:buFont typeface="Arial" panose="020B0604020202020204" pitchFamily="34" charset="0"/>
        <a:buChar char="•"/>
        <a:defRPr sz="3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714500" indent="-342900" algn="l" defTabSz="1371600" rtl="0" eaLnBrk="1" latinLnBrk="0" hangingPunct="1">
        <a:lnSpc>
          <a:spcPct val="100000"/>
        </a:lnSpc>
        <a:spcBef>
          <a:spcPts val="750"/>
        </a:spcBef>
        <a:spcAft>
          <a:spcPts val="1500"/>
        </a:spcAft>
        <a:buClr>
          <a:schemeClr val="accent2"/>
        </a:buClr>
        <a:buFont typeface="Arial" panose="020B0604020202020204" pitchFamily="34" charset="0"/>
        <a:buChar char="•"/>
        <a:defRPr sz="27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2400300" indent="-342900" algn="l" defTabSz="1371600" rtl="0" eaLnBrk="1" latinLnBrk="0" hangingPunct="1">
        <a:lnSpc>
          <a:spcPct val="100000"/>
        </a:lnSpc>
        <a:spcBef>
          <a:spcPts val="750"/>
        </a:spcBef>
        <a:spcAft>
          <a:spcPts val="15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3086100" indent="-342900" algn="l" defTabSz="1371600" rtl="0" eaLnBrk="1" latinLnBrk="0" hangingPunct="1">
        <a:lnSpc>
          <a:spcPct val="100000"/>
        </a:lnSpc>
        <a:spcBef>
          <a:spcPts val="750"/>
        </a:spcBef>
        <a:spcAft>
          <a:spcPts val="15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0" name="Google Shape;9450;p36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1" name="Google Shape;9451;p36"/>
          <p:cNvSpPr txBox="1">
            <a:spLocks noGrp="1"/>
          </p:cNvSpPr>
          <p:nvPr>
            <p:ph type="body" idx="1"/>
          </p:nvPr>
        </p:nvSpPr>
        <p:spPr>
          <a:xfrm>
            <a:off x="1180846" y="1033017"/>
            <a:ext cx="9452610" cy="1463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52" name="Google Shape;9452;p36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3" name="Google Shape;9453;p36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4" name="Google Shape;9454;p36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91430" r:id="rId1"/>
    <p:sldLayoutId id="2147491431" r:id="rId2"/>
    <p:sldLayoutId id="2147491432" r:id="rId3"/>
    <p:sldLayoutId id="2147491433" r:id="rId4"/>
    <p:sldLayoutId id="2147491434" r:id="rId5"/>
    <p:sldLayoutId id="2147491435" r:id="rId6"/>
    <p:sldLayoutId id="2147491436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31" name="Google Shape;13231;p50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232" name="Google Shape;13232;p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233" name="Google Shape;13233;p50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34" name="Google Shape;13234;p50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007" r:id="rId1"/>
    <p:sldLayoutId id="2147485008" r:id="rId2"/>
    <p:sldLayoutId id="2147492020" r:id="rId3"/>
    <p:sldLayoutId id="2147492021" r:id="rId4"/>
    <p:sldLayoutId id="2147492022" r:id="rId5"/>
    <p:sldLayoutId id="2147492023" r:id="rId6"/>
    <p:sldLayoutId id="2147492024" r:id="rId7"/>
    <p:sldLayoutId id="2147492025" r:id="rId8"/>
    <p:sldLayoutId id="2147492026" r:id="rId9"/>
    <p:sldLayoutId id="2147492027" r:id="rId10"/>
    <p:sldLayoutId id="2147492028" r:id="rId11"/>
    <p:sldLayoutId id="2147492029" r:id="rId12"/>
    <p:sldLayoutId id="2147492030" r:id="rId13"/>
    <p:sldLayoutId id="2147492031" r:id="rId14"/>
    <p:sldLayoutId id="2147492032" r:id="rId15"/>
    <p:sldLayoutId id="2147492033" r:id="rId16"/>
    <p:sldLayoutId id="2147492034" r:id="rId17"/>
    <p:sldLayoutId id="2147492035" r:id="rId18"/>
    <p:sldLayoutId id="2147492036" r:id="rId19"/>
    <p:sldLayoutId id="2147492037" r:id="rId20"/>
    <p:sldLayoutId id="2147492038" r:id="rId21"/>
    <p:sldLayoutId id="2147492039" r:id="rId22"/>
    <p:sldLayoutId id="2147492040" r:id="rId23"/>
    <p:sldLayoutId id="2147492041" r:id="rId24"/>
    <p:sldLayoutId id="2147492042" r:id="rId25"/>
    <p:sldLayoutId id="2147492043" r:id="rId26"/>
    <p:sldLayoutId id="2147492044" r:id="rId27"/>
    <p:sldLayoutId id="2147492045" r:id="rId28"/>
    <p:sldLayoutId id="2147492046" r:id="rId29"/>
    <p:sldLayoutId id="2147492047" r:id="rId30"/>
    <p:sldLayoutId id="2147492048" r:id="rId31"/>
    <p:sldLayoutId id="2147492049" r:id="rId32"/>
    <p:sldLayoutId id="2147492050" r:id="rId33"/>
    <p:sldLayoutId id="2147492051" r:id="rId34"/>
    <p:sldLayoutId id="2147492052" r:id="rId3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29200" y="984967"/>
            <a:ext cx="10962800" cy="102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Roboto"/>
              <a:buNone/>
              <a:defRPr sz="32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Roboto"/>
              <a:buNone/>
              <a:defRPr sz="32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Roboto"/>
              <a:buNone/>
              <a:defRPr sz="32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Roboto"/>
              <a:buNone/>
              <a:defRPr sz="32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Roboto"/>
              <a:buNone/>
              <a:defRPr sz="32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Roboto"/>
              <a:buNone/>
              <a:defRPr sz="32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Roboto"/>
              <a:buNone/>
              <a:defRPr sz="32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Roboto"/>
              <a:buNone/>
              <a:defRPr sz="32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Roboto"/>
              <a:buNone/>
              <a:defRPr sz="32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29200" y="2558767"/>
            <a:ext cx="10962800" cy="36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Roboto"/>
              <a:buChar char="●"/>
              <a:defRPr sz="180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Roboto"/>
              <a:buChar char="○"/>
              <a:defRPr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Roboto"/>
              <a:buChar char="■"/>
              <a:defRPr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Roboto"/>
              <a:buChar char="●"/>
              <a:defRPr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Roboto"/>
              <a:buChar char="○"/>
              <a:defRPr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Roboto"/>
              <a:buChar char="■"/>
              <a:defRPr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Roboto"/>
              <a:buChar char="●"/>
              <a:defRPr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Roboto"/>
              <a:buChar char="○"/>
              <a:defRPr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2"/>
              </a:buClr>
              <a:buSzPts val="1400"/>
              <a:buFont typeface="Roboto"/>
              <a:buChar char="■"/>
              <a:defRPr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364721" y="6260831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algn="r">
              <a:buNone/>
              <a:defRPr sz="1333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lvl="2" algn="r">
              <a:buNone/>
              <a:defRPr sz="1333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lvl="3" algn="r">
              <a:buNone/>
              <a:defRPr sz="1333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lvl="4" algn="r">
              <a:buNone/>
              <a:defRPr sz="1333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lvl="5" algn="r">
              <a:buNone/>
              <a:defRPr sz="1333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lvl="6" algn="r">
              <a:buNone/>
              <a:defRPr sz="1333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lvl="7" algn="r">
              <a:buNone/>
              <a:defRPr sz="1333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lvl="8" algn="r">
              <a:buNone/>
              <a:defRPr sz="1333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79278076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92057" r:id="rId1"/>
    <p:sldLayoutId id="2147492058" r:id="rId2"/>
    <p:sldLayoutId id="2147492059" r:id="rId3"/>
    <p:sldLayoutId id="2147492060" r:id="rId4"/>
    <p:sldLayoutId id="2147492061" r:id="rId5"/>
    <p:sldLayoutId id="2147492062" r:id="rId6"/>
    <p:sldLayoutId id="2147492063" r:id="rId7"/>
    <p:sldLayoutId id="2147492064" r:id="rId8"/>
    <p:sldLayoutId id="2147492065" r:id="rId9"/>
    <p:sldLayoutId id="2147492066" r:id="rId10"/>
    <p:sldLayoutId id="2147492067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1467472" y="168284"/>
            <a:ext cx="9546576" cy="1016000"/>
          </a:xfrm>
          <a:prstGeom prst="rect">
            <a:avLst/>
          </a:prstGeom>
        </p:spPr>
        <p:txBody>
          <a:bodyPr vert="horz" lIns="0" tIns="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1243479" y="2033045"/>
            <a:ext cx="9800452" cy="397193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3133344" y="6445093"/>
            <a:ext cx="1133856" cy="224367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US" sz="1067" smtClean="0"/>
            </a:lvl1pPr>
          </a:lstStyle>
          <a:p>
            <a:fld id="{4DD056AA-046F-1E41-8A7D-BECBA863898E}" type="datetime1">
              <a:rPr lang="en-US" smtClean="0"/>
              <a:t>6/1/2026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2659" y="6382711"/>
            <a:ext cx="6908800" cy="30835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867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605F62"/>
                </a:solidFill>
              </a:rPr>
              <a:t>Presentation or Section Title</a:t>
            </a:r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4399" y="6382712"/>
            <a:ext cx="462327" cy="30835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867">
                <a:solidFill>
                  <a:schemeClr val="accent2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 descr="NM-Logo-Stacked-RGB.jpg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996" y="6281484"/>
            <a:ext cx="1932195" cy="360616"/>
          </a:xfrm>
          <a:prstGeom prst="rect">
            <a:avLst/>
          </a:prstGeom>
        </p:spPr>
      </p:pic>
      <p:pic>
        <p:nvPicPr>
          <p:cNvPr id="4" name="Picture 3" descr="PPT-RGB-Shapes1.ai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0264" y="507101"/>
            <a:ext cx="2096163" cy="732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579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2069" r:id="rId1"/>
    <p:sldLayoutId id="2147492070" r:id="rId2"/>
    <p:sldLayoutId id="2147492071" r:id="rId3"/>
    <p:sldLayoutId id="2147492072" r:id="rId4"/>
    <p:sldLayoutId id="2147492073" r:id="rId5"/>
    <p:sldLayoutId id="2147492074" r:id="rId6"/>
    <p:sldLayoutId id="2147492075" r:id="rId7"/>
    <p:sldLayoutId id="2147492076" r:id="rId8"/>
    <p:sldLayoutId id="2147492077" r:id="rId9"/>
    <p:sldLayoutId id="2147492078" r:id="rId10"/>
    <p:sldLayoutId id="2147492079" r:id="rId11"/>
    <p:sldLayoutId id="2147492080" r:id="rId12"/>
    <p:sldLayoutId id="2147492081" r:id="rId13"/>
    <p:sldLayoutId id="2147492082" r:id="rId14"/>
    <p:sldLayoutId id="2147492083" r:id="rId15"/>
    <p:sldLayoutId id="2147492084" r:id="rId16"/>
    <p:sldLayoutId id="2147492085" r:id="rId17"/>
    <p:sldLayoutId id="2147492086" r:id="rId18"/>
    <p:sldLayoutId id="2147492087" r:id="rId19"/>
    <p:sldLayoutId id="2147492088" r:id="rId20"/>
    <p:sldLayoutId id="2147492089" r:id="rId21"/>
    <p:sldLayoutId id="2147492090" r:id="rId22"/>
  </p:sldLayoutIdLst>
  <p:hf hdr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tabLst/>
        <a:defRPr sz="3733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2828" indent="-232828" algn="l" defTabSz="609585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1pPr>
      <a:lvl2pPr marL="537620" indent="-304792" algn="l" defTabSz="609585" rtl="0" eaLnBrk="1" latinLnBrk="0" hangingPunct="1">
        <a:spcBef>
          <a:spcPct val="20000"/>
        </a:spcBef>
        <a:buSzPct val="80000"/>
        <a:buFont typeface="Lucida Grande"/>
        <a:buChar char="-"/>
        <a:defRPr sz="2267" kern="120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2828" algn="l" defTabSz="609585" rtl="0" eaLnBrk="1" latinLnBrk="0" hangingPunct="1">
        <a:spcBef>
          <a:spcPct val="200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145089" indent="-234945" algn="l" defTabSz="609585" rtl="0" eaLnBrk="1" latinLnBrk="0" hangingPunct="1">
        <a:spcBef>
          <a:spcPct val="200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367332" indent="-222245" algn="l" defTabSz="609585" rtl="0" eaLnBrk="1" latinLnBrk="0" hangingPunct="1">
        <a:spcBef>
          <a:spcPct val="200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5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307.xml"/><Relationship Id="rId4" Type="http://schemas.openxmlformats.org/officeDocument/2006/relationships/image" Target="../media/image12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8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9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9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9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9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309.xml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globalhealthmedia.org/video/attaching-your-baby-at-the-breast/" TargetMode="External"/><Relationship Id="rId3" Type="http://schemas.openxmlformats.org/officeDocument/2006/relationships/image" Target="../media/image124.png"/><Relationship Id="rId7" Type="http://schemas.openxmlformats.org/officeDocument/2006/relationships/hyperlink" Target="https://med.stanford.edu/newborns/professional-education/breastfeeding/maximizing-milk-production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94.xml"/><Relationship Id="rId6" Type="http://schemas.openxmlformats.org/officeDocument/2006/relationships/hyperlink" Target="https://med.stanford.edu/newborns/professional-education/breastfeeding/hand-expressing-milk.html" TargetMode="External"/><Relationship Id="rId5" Type="http://schemas.openxmlformats.org/officeDocument/2006/relationships/hyperlink" Target="https://www.breastfeedingmedicine.com/assets/DOCUMENTS/PROTOCOLS/10-breastfeeding-the-late-pre-term-infant-protocol-english.pdf" TargetMode="External"/><Relationship Id="rId4" Type="http://schemas.openxmlformats.org/officeDocument/2006/relationships/hyperlink" Target="https://cdn.slidesharecdn.com/ss_thumbnails/breastfeedinglogfristtwoweeks-090611085650-phpapp01-thumbnail.jpg?width=640&amp;height=640&amp;fit=bounds" TargetMode="External"/><Relationship Id="rId9" Type="http://schemas.openxmlformats.org/officeDocument/2006/relationships/hyperlink" Target="https://globalhealthmedia.org/video/is-your-baby-getting-enough-milk/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99.xml"/><Relationship Id="rId4" Type="http://schemas.openxmlformats.org/officeDocument/2006/relationships/image" Target="../media/image12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109.xml"/><Relationship Id="rId1" Type="http://schemas.openxmlformats.org/officeDocument/2006/relationships/tags" Target="../tags/tag3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0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28.jpeg"/><Relationship Id="rId4" Type="http://schemas.openxmlformats.org/officeDocument/2006/relationships/image" Target="../media/image12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0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sv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09.xml"/><Relationship Id="rId4" Type="http://schemas.openxmlformats.org/officeDocument/2006/relationships/image" Target="../media/image13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svg"/><Relationship Id="rId7" Type="http://schemas.openxmlformats.org/officeDocument/2006/relationships/image" Target="../media/image136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19.xml"/><Relationship Id="rId6" Type="http://schemas.openxmlformats.org/officeDocument/2006/relationships/image" Target="../media/image135.svg"/><Relationship Id="rId5" Type="http://schemas.openxmlformats.org/officeDocument/2006/relationships/image" Target="../media/image134.svg"/><Relationship Id="rId4" Type="http://schemas.openxmlformats.org/officeDocument/2006/relationships/image" Target="../media/image133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sv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19.xml"/><Relationship Id="rId5" Type="http://schemas.openxmlformats.org/officeDocument/2006/relationships/image" Target="../media/image139.png"/><Relationship Id="rId4" Type="http://schemas.openxmlformats.org/officeDocument/2006/relationships/image" Target="../media/image138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120.xml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4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4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307.xml"/><Relationship Id="rId4" Type="http://schemas.openxmlformats.org/officeDocument/2006/relationships/image" Target="../media/image12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88">
          <a:extLst>
            <a:ext uri="{FF2B5EF4-FFF2-40B4-BE49-F238E27FC236}">
              <a16:creationId xmlns:a16="http://schemas.microsoft.com/office/drawing/2014/main" id="{F15F0D68-BE36-A420-7922-2596729F56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89" name="Google Shape;16689;p276">
            <a:extLst>
              <a:ext uri="{FF2B5EF4-FFF2-40B4-BE49-F238E27FC236}">
                <a16:creationId xmlns:a16="http://schemas.microsoft.com/office/drawing/2014/main" id="{B0ABD439-00E8-E385-A59E-356212BEFD6D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518984" y="473554"/>
            <a:ext cx="7712075" cy="16753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sz="2500" dirty="0">
                <a:solidFill>
                  <a:srgbClr val="1B477A"/>
                </a:solidFill>
                <a:latin typeface="Montserrat"/>
                <a:sym typeface="DM Sans"/>
              </a:rPr>
              <a:t>Too Early to Be Overlooked: </a:t>
            </a:r>
            <a:br>
              <a:rPr lang="en-US" sz="2500" dirty="0">
                <a:solidFill>
                  <a:srgbClr val="1B477A"/>
                </a:solidFill>
                <a:latin typeface="Montserrat"/>
                <a:sym typeface="DM Sans"/>
              </a:rPr>
            </a:br>
            <a:r>
              <a:rPr lang="en-US" sz="2500" dirty="0">
                <a:solidFill>
                  <a:srgbClr val="1B477A"/>
                </a:solidFill>
                <a:latin typeface="Montserrat"/>
                <a:sym typeface="DM Sans"/>
              </a:rPr>
              <a:t>Coordinated Care for Late Preterm Infants</a:t>
            </a:r>
            <a:r>
              <a:rPr lang="en-US" sz="3000" dirty="0">
                <a:solidFill>
                  <a:srgbClr val="1B477A"/>
                </a:solidFill>
                <a:latin typeface="Montserrat"/>
                <a:sym typeface="DM Sans"/>
              </a:rPr>
              <a:t> </a:t>
            </a:r>
            <a:r>
              <a:rPr lang="en-US" sz="3000" b="0" dirty="0">
                <a:solidFill>
                  <a:srgbClr val="1B477A"/>
                </a:solidFill>
                <a:latin typeface="Montserrat"/>
                <a:sym typeface="DM Sans"/>
              </a:rPr>
              <a:t> </a:t>
            </a:r>
            <a:endParaRPr lang="en-US" sz="3000" b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C9A9BF-6482-A531-9DB5-A7B3167156CA}"/>
              </a:ext>
            </a:extLst>
          </p:cNvPr>
          <p:cNvSpPr txBox="1"/>
          <p:nvPr/>
        </p:nvSpPr>
        <p:spPr>
          <a:xfrm>
            <a:off x="1380226" y="2420626"/>
            <a:ext cx="9431547" cy="25545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000" b="1" i="0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Maia </a:t>
            </a:r>
            <a:r>
              <a:rPr lang="en-US" sz="2000" b="1" i="0" err="1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Birchmoon</a:t>
            </a:r>
            <a:r>
              <a:rPr lang="en-US" sz="2000" b="1" i="0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-Gordon, BSN, RNC, IBCLC</a:t>
            </a:r>
            <a:r>
              <a:rPr lang="en-US" sz="2000" b="0" i="0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 </a:t>
            </a:r>
          </a:p>
          <a:p>
            <a:pPr algn="l"/>
            <a:r>
              <a:rPr lang="en-US" sz="2000" b="0" i="1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Lactation Consultant and Nurse, Endeavor Health Swedish Hospital </a:t>
            </a:r>
          </a:p>
          <a:p>
            <a:pPr algn="l"/>
            <a:r>
              <a:rPr lang="en-US" sz="2000" b="1" i="0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Kristina Dakis, MD</a:t>
            </a:r>
            <a:r>
              <a:rPr lang="en-US" sz="2000" b="0" i="0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 </a:t>
            </a:r>
          </a:p>
          <a:p>
            <a:pPr algn="l"/>
            <a:r>
              <a:rPr lang="en-US" sz="2000" b="0" i="1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Family Medicine Physician, Gibson Area Hospital </a:t>
            </a:r>
          </a:p>
          <a:p>
            <a:pPr algn="l"/>
            <a:r>
              <a:rPr lang="en-US" sz="2000" b="1" i="0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Malika D. Shah, MD</a:t>
            </a:r>
            <a:r>
              <a:rPr lang="en-US" sz="2000" b="0" i="0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 </a:t>
            </a:r>
          </a:p>
          <a:p>
            <a:pPr algn="l"/>
            <a:r>
              <a:rPr lang="en-US" sz="2000" b="0" i="1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Neonatologist, Medical Director, Newborn Nursery, Prentice Women’s Hospital Northwestern Medicine </a:t>
            </a:r>
          </a:p>
          <a:p>
            <a:pPr algn="ctr"/>
            <a:endParaRPr lang="en-US" sz="2000">
              <a:cs typeface="Arial"/>
            </a:endParaRPr>
          </a:p>
        </p:txBody>
      </p:sp>
      <p:pic>
        <p:nvPicPr>
          <p:cNvPr id="6" name="Picture 5" descr="A person wearing a head scarf&#10;&#10;AI-generated content may be incorrect.">
            <a:extLst>
              <a:ext uri="{FF2B5EF4-FFF2-40B4-BE49-F238E27FC236}">
                <a16:creationId xmlns:a16="http://schemas.microsoft.com/office/drawing/2014/main" id="{2E60733B-0B58-FF5B-9CDF-A30315E24D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6200" y="1197513"/>
            <a:ext cx="1795511" cy="1433215"/>
          </a:xfrm>
          <a:prstGeom prst="rect">
            <a:avLst/>
          </a:prstGeom>
        </p:spPr>
      </p:pic>
      <p:pic>
        <p:nvPicPr>
          <p:cNvPr id="8" name="Picture 7" descr="A close-up of a person smiling&#10;&#10;AI-generated content may be incorrect.">
            <a:extLst>
              <a:ext uri="{FF2B5EF4-FFF2-40B4-BE49-F238E27FC236}">
                <a16:creationId xmlns:a16="http://schemas.microsoft.com/office/drawing/2014/main" id="{E2712BF2-2B8D-706A-FC74-953DE6E348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1135" y="4378535"/>
            <a:ext cx="1701687" cy="1591966"/>
          </a:xfrm>
          <a:prstGeom prst="rect">
            <a:avLst/>
          </a:prstGeom>
        </p:spPr>
      </p:pic>
      <p:pic>
        <p:nvPicPr>
          <p:cNvPr id="10" name="Picture 9" descr="A person in a blue shirt&#10;&#10;AI-generated content may be incorrect.">
            <a:extLst>
              <a:ext uri="{FF2B5EF4-FFF2-40B4-BE49-F238E27FC236}">
                <a16:creationId xmlns:a16="http://schemas.microsoft.com/office/drawing/2014/main" id="{730DB20F-9893-5CA6-D36B-085152561C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93872" y="2628455"/>
            <a:ext cx="1662673" cy="1600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7278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4" name="Google Shape;13724;g3d07fb6f662_0_6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>
                <a:solidFill>
                  <a:srgbClr val="AEB3B7"/>
                </a:solidFill>
                <a:latin typeface="DM Sans"/>
                <a:ea typeface="DM Sans"/>
                <a:cs typeface="DM Sans"/>
                <a:sym typeface="DM Sans"/>
              </a:rPr>
              <a:t>10</a:t>
            </a:fld>
            <a:endParaRPr>
              <a:solidFill>
                <a:srgbClr val="AEB3B7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13725" name="Google Shape;13725;g3d07fb6f662_0_6"/>
          <p:cNvSpPr txBox="1">
            <a:spLocks noGrp="1"/>
          </p:cNvSpPr>
          <p:nvPr>
            <p:ph type="title"/>
          </p:nvPr>
        </p:nvSpPr>
        <p:spPr>
          <a:xfrm>
            <a:off x="609600" y="385630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r>
              <a:rPr lang="en-US" sz="4400" b="1" dirty="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Primary </a:t>
            </a:r>
            <a:r>
              <a:rPr lang="en-US" sz="4400" b="1" dirty="0">
                <a:solidFill>
                  <a:schemeClr val="accent1"/>
                </a:solidFill>
                <a:latin typeface="DM Sans"/>
                <a:ea typeface="DM Sans"/>
                <a:cs typeface="DM Sans"/>
              </a:rPr>
              <a:t>Drivers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06191C54-5B02-7C78-98F3-E1F9C8C4F0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9272321"/>
              </p:ext>
            </p:extLst>
          </p:nvPr>
        </p:nvGraphicFramePr>
        <p:xfrm>
          <a:off x="2387600" y="1422400"/>
          <a:ext cx="7416800" cy="5295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121034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220D14-0D4B-7CFE-D2FB-A36B53BCDDA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1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969D46-5B6B-75B9-FC48-51CE0C9D9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400" b="1" dirty="0">
                <a:solidFill>
                  <a:schemeClr val="accent1"/>
                </a:solidFill>
                <a:latin typeface="DM Sans" pitchFamily="2" charset="77"/>
              </a:rPr>
              <a:t>IL-LPI Breakout Ses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FF8AAA-C02A-8C8F-06F6-62307E32D0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om Delivery Room to Discharge: Comprehensive Care Pathways for the Late Preterm Infant</a:t>
            </a:r>
          </a:p>
          <a:p>
            <a:r>
              <a:rPr lang="en-US" dirty="0"/>
              <a:t>“Design the Solution” LPI Breakout Session:</a:t>
            </a:r>
          </a:p>
          <a:p>
            <a:pPr lvl="1"/>
            <a:r>
              <a:rPr lang="en-US" sz="2400" dirty="0"/>
              <a:t>By the end of the conference, participants will:</a:t>
            </a:r>
          </a:p>
          <a:p>
            <a:pPr lvl="2"/>
            <a:r>
              <a:rPr lang="en-US" sz="2200" dirty="0"/>
              <a:t>Recognize variability and gaps in care for LPIs</a:t>
            </a:r>
          </a:p>
          <a:p>
            <a:pPr lvl="2"/>
            <a:r>
              <a:rPr lang="en-US" sz="2200" dirty="0"/>
              <a:t>Understand why LPIs are a priority population </a:t>
            </a:r>
          </a:p>
          <a:p>
            <a:pPr lvl="2"/>
            <a:r>
              <a:rPr lang="en-US" sz="2200" dirty="0"/>
              <a:t>Identify key drivers for improving outcomes</a:t>
            </a:r>
          </a:p>
          <a:p>
            <a:pPr lvl="2"/>
            <a:r>
              <a:rPr lang="en-US" sz="2200" dirty="0"/>
              <a:t>Begin shaping site-level readiness and engagement strategies</a:t>
            </a:r>
          </a:p>
          <a:p>
            <a:pPr lvl="2"/>
            <a:r>
              <a:rPr lang="en-US" sz="2200" dirty="0"/>
              <a:t>Generate one or two actionable change idea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1895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585F67-FD2A-28A7-CF8A-4C7CB0ACAE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rner of flowers and leaves&#10;&#10;AI-generated content may be incorrect.">
            <a:extLst>
              <a:ext uri="{FF2B5EF4-FFF2-40B4-BE49-F238E27FC236}">
                <a16:creationId xmlns:a16="http://schemas.microsoft.com/office/drawing/2014/main" id="{D8C56717-AC76-2C44-DCF8-8C180B6922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14942" y="-164890"/>
            <a:ext cx="4426789" cy="44273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C6A256C-D6F7-A360-7311-86C6431244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4203" y="2766144"/>
            <a:ext cx="8629290" cy="1325563"/>
          </a:xfrm>
        </p:spPr>
        <p:txBody>
          <a:bodyPr/>
          <a:lstStyle/>
          <a:p>
            <a:r>
              <a:rPr lang="en-US" sz="4400" dirty="0">
                <a:latin typeface="DM Sans"/>
                <a:ea typeface="Lato Medium"/>
                <a:cs typeface="Lato Medium"/>
              </a:rPr>
              <a:t>Pan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3BD491-A1DE-53FA-6FFB-750DEB60F9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319EA-B93E-5C8D-6328-0E7DCB13C7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11" name="Freeform 14" descr="A close-up of flowers in grass&#10;&#10;AI-generated content may be incorrect.">
            <a:extLst>
              <a:ext uri="{FF2B5EF4-FFF2-40B4-BE49-F238E27FC236}">
                <a16:creationId xmlns:a16="http://schemas.microsoft.com/office/drawing/2014/main" id="{0C4EB609-C44B-B005-DD55-34FCBA313A73}"/>
              </a:ext>
            </a:extLst>
          </p:cNvPr>
          <p:cNvSpPr/>
          <p:nvPr/>
        </p:nvSpPr>
        <p:spPr>
          <a:xfrm>
            <a:off x="-646981" y="5472593"/>
            <a:ext cx="7848600" cy="1543558"/>
          </a:xfrm>
          <a:custGeom>
            <a:avLst/>
            <a:gdLst/>
            <a:ahLst/>
            <a:cxnLst/>
            <a:rect l="l" t="t" r="r" b="b"/>
            <a:pathLst>
              <a:path w="11772900" h="2315337">
                <a:moveTo>
                  <a:pt x="0" y="0"/>
                </a:moveTo>
                <a:lnTo>
                  <a:pt x="11772900" y="0"/>
                </a:lnTo>
                <a:lnTo>
                  <a:pt x="11772900" y="2315337"/>
                </a:lnTo>
                <a:lnTo>
                  <a:pt x="0" y="231533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3" name="Freeform 13" descr="A cartoon of a bird on a branch&#10;&#10;AI-generated content may be incorrect.">
            <a:extLst>
              <a:ext uri="{FF2B5EF4-FFF2-40B4-BE49-F238E27FC236}">
                <a16:creationId xmlns:a16="http://schemas.microsoft.com/office/drawing/2014/main" id="{6551ACA2-1F3F-DCDD-BB34-BCCF64560FE5}"/>
              </a:ext>
            </a:extLst>
          </p:cNvPr>
          <p:cNvSpPr/>
          <p:nvPr/>
        </p:nvSpPr>
        <p:spPr>
          <a:xfrm>
            <a:off x="570080" y="493310"/>
            <a:ext cx="1629063" cy="1442822"/>
          </a:xfrm>
          <a:custGeom>
            <a:avLst/>
            <a:gdLst/>
            <a:ahLst/>
            <a:cxnLst/>
            <a:rect l="l" t="t" r="r" b="b"/>
            <a:pathLst>
              <a:path w="3715992" h="3005309">
                <a:moveTo>
                  <a:pt x="0" y="0"/>
                </a:moveTo>
                <a:lnTo>
                  <a:pt x="3715992" y="0"/>
                </a:lnTo>
                <a:lnTo>
                  <a:pt x="3715992" y="3005308"/>
                </a:lnTo>
                <a:lnTo>
                  <a:pt x="0" y="3005308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5" name="Freeform 14" descr="A close-up of flowers in grass&#10;&#10;AI-generated content may be incorrect.">
            <a:extLst>
              <a:ext uri="{FF2B5EF4-FFF2-40B4-BE49-F238E27FC236}">
                <a16:creationId xmlns:a16="http://schemas.microsoft.com/office/drawing/2014/main" id="{65F40750-5DB4-48CB-2496-70BB0D978F9F}"/>
              </a:ext>
            </a:extLst>
          </p:cNvPr>
          <p:cNvSpPr/>
          <p:nvPr/>
        </p:nvSpPr>
        <p:spPr>
          <a:xfrm>
            <a:off x="6699849" y="5472593"/>
            <a:ext cx="7848600" cy="1543558"/>
          </a:xfrm>
          <a:custGeom>
            <a:avLst/>
            <a:gdLst/>
            <a:ahLst/>
            <a:cxnLst/>
            <a:rect l="l" t="t" r="r" b="b"/>
            <a:pathLst>
              <a:path w="11772900" h="2315337">
                <a:moveTo>
                  <a:pt x="0" y="0"/>
                </a:moveTo>
                <a:lnTo>
                  <a:pt x="11772900" y="0"/>
                </a:lnTo>
                <a:lnTo>
                  <a:pt x="11772900" y="2315337"/>
                </a:lnTo>
                <a:lnTo>
                  <a:pt x="0" y="231533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7919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86">
          <a:extLst>
            <a:ext uri="{FF2B5EF4-FFF2-40B4-BE49-F238E27FC236}">
              <a16:creationId xmlns:a16="http://schemas.microsoft.com/office/drawing/2014/main" id="{0C574EE1-C00A-9E2B-F9DD-39F81360A2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87" name="Google Shape;14487;p27">
            <a:extLst>
              <a:ext uri="{FF2B5EF4-FFF2-40B4-BE49-F238E27FC236}">
                <a16:creationId xmlns:a16="http://schemas.microsoft.com/office/drawing/2014/main" id="{2AF315C8-EE7D-F0D0-755E-0A35DBD5884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11167800" cy="677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4400" dirty="0">
                <a:solidFill>
                  <a:schemeClr val="bg2"/>
                </a:solidFill>
                <a:latin typeface="DM Sans"/>
              </a:rPr>
              <a:t>Panel Objectives</a:t>
            </a:r>
          </a:p>
        </p:txBody>
      </p:sp>
      <p:sp>
        <p:nvSpPr>
          <p:cNvPr id="14488" name="Google Shape;14488;p27">
            <a:extLst>
              <a:ext uri="{FF2B5EF4-FFF2-40B4-BE49-F238E27FC236}">
                <a16:creationId xmlns:a16="http://schemas.microsoft.com/office/drawing/2014/main" id="{FC31F3D4-84A4-9DBC-3DC2-F5C57236E22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fld id="{00000000-1234-1234-1234-123412341234}" type="slidenum">
              <a:rPr lang="en-US">
                <a:latin typeface="DM Sans"/>
                <a:ea typeface="DM Sans"/>
                <a:cs typeface="DM Sans"/>
                <a:sym typeface="DM Sans"/>
              </a:rPr>
              <a:t>13</a:t>
            </a:fld>
            <a:endParaRPr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14489" name="Google Shape;14489;p27">
            <a:extLst>
              <a:ext uri="{FF2B5EF4-FFF2-40B4-BE49-F238E27FC236}">
                <a16:creationId xmlns:a16="http://schemas.microsoft.com/office/drawing/2014/main" id="{169C9A86-C96C-DD7F-560D-90573D4D8F9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28988" y="1445921"/>
            <a:ext cx="10765319" cy="36009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indent="-285750">
              <a:spcAft>
                <a:spcPts val="1200"/>
              </a:spcAft>
              <a:buSzPct val="100000"/>
              <a:buChar char="•"/>
            </a:pPr>
            <a:r>
              <a:rPr lang="en-US" sz="2800" dirty="0">
                <a:latin typeface="DM Sans"/>
              </a:rPr>
              <a:t>Highlight the unique clinical and developmental needs of late preterm infants (34–366/7 weeks) across care settings</a:t>
            </a:r>
            <a:endParaRPr lang="en-US" sz="2000" dirty="0">
              <a:latin typeface="DM Sans"/>
            </a:endParaRPr>
          </a:p>
          <a:p>
            <a:pPr marL="285750" indent="-285750">
              <a:spcAft>
                <a:spcPts val="1200"/>
              </a:spcAft>
              <a:buSzPct val="100000"/>
              <a:buChar char="•"/>
            </a:pPr>
            <a:r>
              <a:rPr lang="en-US" sz="2800" dirty="0">
                <a:latin typeface="DM Sans"/>
              </a:rPr>
              <a:t>Identify gaps in communication and care transitions from inpatient to outpatient environments</a:t>
            </a:r>
            <a:endParaRPr lang="en-US" sz="2000" dirty="0">
              <a:latin typeface="DM Sans"/>
            </a:endParaRPr>
          </a:p>
          <a:p>
            <a:pPr marL="285750" indent="-285750">
              <a:spcAft>
                <a:spcPts val="1200"/>
              </a:spcAft>
              <a:buSzPct val="100000"/>
              <a:buChar char="•"/>
            </a:pPr>
            <a:r>
              <a:rPr lang="en-US" sz="2800" dirty="0">
                <a:latin typeface="DM Sans"/>
              </a:rPr>
              <a:t>Explore multidisciplinary strategies to support families in the first month after discharge</a:t>
            </a:r>
            <a:endParaRPr lang="en-US" sz="2000" dirty="0">
              <a:latin typeface="DM Sans"/>
            </a:endParaRPr>
          </a:p>
          <a:p>
            <a:pPr marL="228600" lv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en-US" sz="2400" b="1" dirty="0">
              <a:latin typeface="DM Sans"/>
              <a:ea typeface="DM Sans"/>
              <a:cs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1037626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88">
          <a:extLst>
            <a:ext uri="{FF2B5EF4-FFF2-40B4-BE49-F238E27FC236}">
              <a16:creationId xmlns:a16="http://schemas.microsoft.com/office/drawing/2014/main" id="{73AD84FC-AA8F-B8C9-C834-3C2216444C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89" name="Google Shape;16689;p276">
            <a:extLst>
              <a:ext uri="{FF2B5EF4-FFF2-40B4-BE49-F238E27FC236}">
                <a16:creationId xmlns:a16="http://schemas.microsoft.com/office/drawing/2014/main" id="{076EE02F-5E28-6B9C-28FD-C126DDC8A9D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379369" y="2286222"/>
            <a:ext cx="5736550" cy="49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sz="3200" dirty="0">
                <a:solidFill>
                  <a:schemeClr val="accent1"/>
                </a:solidFill>
                <a:latin typeface="Montserrat"/>
                <a:sym typeface="DM Sans"/>
              </a:rPr>
              <a:t>Panelist</a:t>
            </a:r>
            <a:endParaRPr lang="en-US" sz="3200" b="0" dirty="0">
              <a:solidFill>
                <a:schemeClr val="accent1"/>
              </a:solidFill>
              <a:latin typeface="Montserra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561E51E-B01E-E066-52B2-6AD6C25DF071}"/>
              </a:ext>
            </a:extLst>
          </p:cNvPr>
          <p:cNvSpPr txBox="1"/>
          <p:nvPr/>
        </p:nvSpPr>
        <p:spPr>
          <a:xfrm>
            <a:off x="1380226" y="3208026"/>
            <a:ext cx="7577347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000" b="1" i="0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Maia </a:t>
            </a:r>
            <a:r>
              <a:rPr lang="en-US" sz="2000" b="1" i="0" err="1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Birchmoon</a:t>
            </a:r>
            <a:r>
              <a:rPr lang="en-US" sz="2000" b="1" i="0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-Gordon, BSN, RNC, IBCLC</a:t>
            </a:r>
            <a:r>
              <a:rPr lang="en-US" sz="2000" b="0" i="0" dirty="0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 </a:t>
            </a:r>
          </a:p>
          <a:p>
            <a:pPr algn="l"/>
            <a:r>
              <a:rPr lang="en-US" sz="2000" b="0" i="1">
                <a:solidFill>
                  <a:srgbClr val="000000"/>
                </a:solidFill>
                <a:latin typeface="Montserrat"/>
                <a:ea typeface="Montserrat"/>
                <a:cs typeface="Montserrat"/>
              </a:rPr>
              <a:t>Lactation Consultant and Nurse, Endeavor Health Swedish Hospital </a:t>
            </a:r>
          </a:p>
          <a:p>
            <a:pPr algn="ctr"/>
            <a:endParaRPr lang="en-US" sz="2000" b="0">
              <a:solidFill>
                <a:srgbClr val="444C55"/>
              </a:solidFill>
              <a:latin typeface="Arial"/>
              <a:ea typeface="Montserrat"/>
              <a:cs typeface="Arial"/>
            </a:endParaRPr>
          </a:p>
        </p:txBody>
      </p:sp>
      <p:pic>
        <p:nvPicPr>
          <p:cNvPr id="6" name="Picture 5" descr="A person wearing a head scarf&#10;&#10;AI-generated content may be incorrect.">
            <a:extLst>
              <a:ext uri="{FF2B5EF4-FFF2-40B4-BE49-F238E27FC236}">
                <a16:creationId xmlns:a16="http://schemas.microsoft.com/office/drawing/2014/main" id="{45D2047F-51E4-B7D6-8CE9-C3EE72AC51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76400" y="2137313"/>
            <a:ext cx="2786111" cy="214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633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3"/>
          <p:cNvSpPr txBox="1">
            <a:spLocks noGrp="1"/>
          </p:cNvSpPr>
          <p:nvPr>
            <p:ph type="ctrTitle"/>
          </p:nvPr>
        </p:nvSpPr>
        <p:spPr>
          <a:xfrm>
            <a:off x="520700" y="2425700"/>
            <a:ext cx="10962800" cy="12448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r>
              <a:rPr lang="en"/>
              <a:t>SUPPORTING BREASTFEEDING FOR LATE PRETERM INFANTS</a:t>
            </a:r>
            <a:endParaRPr/>
          </a:p>
        </p:txBody>
      </p:sp>
      <p:sp>
        <p:nvSpPr>
          <p:cNvPr id="68" name="Google Shape;68;p13"/>
          <p:cNvSpPr txBox="1">
            <a:spLocks noGrp="1"/>
          </p:cNvSpPr>
          <p:nvPr>
            <p:ph type="subTitle" idx="1"/>
          </p:nvPr>
        </p:nvSpPr>
        <p:spPr>
          <a:xfrm>
            <a:off x="729740" y="5074928"/>
            <a:ext cx="10962800" cy="577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/>
            <a:r>
              <a:rPr lang="en" sz="3200"/>
              <a:t>Maia Birchmoon-Gordon, BSN, RNC-OB, RNC-NIC, IBCLC</a:t>
            </a:r>
            <a:endParaRPr sz="3200"/>
          </a:p>
          <a:p>
            <a:pPr marL="0" indent="0"/>
            <a:r>
              <a:rPr lang="en" sz="3200"/>
              <a:t>Lactation Consultant, Outpatient Breastfeeding Clinic</a:t>
            </a:r>
            <a:endParaRPr sz="3200"/>
          </a:p>
          <a:p>
            <a:pPr marL="0" indent="0"/>
            <a:r>
              <a:rPr lang="en" sz="3200"/>
              <a:t>Endeavor Swedish Hospital, Chicago </a:t>
            </a:r>
            <a:endParaRPr sz="320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4"/>
          <p:cNvSpPr txBox="1">
            <a:spLocks noGrp="1"/>
          </p:cNvSpPr>
          <p:nvPr>
            <p:ph type="title"/>
          </p:nvPr>
        </p:nvSpPr>
        <p:spPr>
          <a:xfrm>
            <a:off x="629200" y="984967"/>
            <a:ext cx="10962800" cy="10236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r>
              <a:rPr lang="en"/>
              <a:t>RISKS/OUTCOMES TO PREVENT:</a:t>
            </a:r>
            <a:endParaRPr/>
          </a:p>
        </p:txBody>
      </p:sp>
      <p:sp>
        <p:nvSpPr>
          <p:cNvPr id="74" name="Google Shape;74;p14"/>
          <p:cNvSpPr txBox="1">
            <a:spLocks noGrp="1"/>
          </p:cNvSpPr>
          <p:nvPr>
            <p:ph type="body" idx="1"/>
          </p:nvPr>
        </p:nvSpPr>
        <p:spPr>
          <a:xfrm>
            <a:off x="629200" y="2558767"/>
            <a:ext cx="10962800" cy="361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indent="-414856">
              <a:buSzPts val="1300"/>
            </a:pPr>
            <a:r>
              <a:rPr lang="en" sz="1733"/>
              <a:t>Dehydration </a:t>
            </a:r>
            <a:endParaRPr sz="1733"/>
          </a:p>
          <a:p>
            <a:pPr indent="-414856">
              <a:buSzPts val="1300"/>
            </a:pPr>
            <a:r>
              <a:rPr lang="en" sz="1733"/>
              <a:t>Excessive initial weight loss</a:t>
            </a:r>
            <a:endParaRPr sz="1733"/>
          </a:p>
          <a:p>
            <a:pPr indent="-414856">
              <a:buSzPts val="1300"/>
            </a:pPr>
            <a:r>
              <a:rPr lang="en" sz="1733"/>
              <a:t>Jaundice (due to inadequate intake, baby will lack needed albumin to conjugate bilirubin for excretion. Inadequate intake will also delay or reduce stooling, leading to reabsorption of bilirubin).</a:t>
            </a:r>
            <a:endParaRPr sz="1733"/>
          </a:p>
          <a:p>
            <a:pPr indent="-414856">
              <a:buSzPts val="1300"/>
            </a:pPr>
            <a:r>
              <a:rPr lang="en" sz="1733"/>
              <a:t>Hypoglycemia</a:t>
            </a:r>
            <a:endParaRPr sz="1733"/>
          </a:p>
          <a:p>
            <a:pPr indent="-414856">
              <a:buSzPts val="1300"/>
            </a:pPr>
            <a:r>
              <a:rPr lang="en" sz="1733"/>
              <a:t>Hypothermia </a:t>
            </a:r>
            <a:endParaRPr sz="1733"/>
          </a:p>
          <a:p>
            <a:pPr indent="-414856">
              <a:buSzPts val="1300"/>
            </a:pPr>
            <a:r>
              <a:rPr lang="en" sz="1733"/>
              <a:t>Readmission to hospital for hydration, nutrition, warming, and/or phototherapy </a:t>
            </a:r>
            <a:endParaRPr sz="1733"/>
          </a:p>
          <a:p>
            <a:pPr indent="-414856">
              <a:buSzPts val="1300"/>
            </a:pPr>
            <a:r>
              <a:rPr lang="en" sz="1733"/>
              <a:t>Inadequate or slow weight gain</a:t>
            </a:r>
            <a:endParaRPr sz="1733"/>
          </a:p>
          <a:p>
            <a:pPr indent="-414856">
              <a:buSzPts val="1300"/>
            </a:pPr>
            <a:r>
              <a:rPr lang="en" sz="1733"/>
              <a:t>Early cessation of human milk feeding</a:t>
            </a:r>
            <a:endParaRPr sz="1733"/>
          </a:p>
          <a:p>
            <a:pPr indent="-414856">
              <a:buSzPts val="1300"/>
            </a:pPr>
            <a:r>
              <a:rPr lang="en" sz="1733"/>
              <a:t>Loss of direct breastfeeding, which increases risk for early cessation of human milk feeding, increases the time and energy burden of human milk feeding, and reduces some benefits of breastfeeding</a:t>
            </a:r>
            <a:endParaRPr sz="1733"/>
          </a:p>
          <a:p>
            <a:pPr indent="-414856">
              <a:buSzPts val="1300"/>
            </a:pPr>
            <a:r>
              <a:rPr lang="en" sz="1733"/>
              <a:t>Undermines parents’ confidence in breastfeeding and in their own ability to care for their baby</a:t>
            </a:r>
            <a:endParaRPr sz="1733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5"/>
          <p:cNvSpPr txBox="1">
            <a:spLocks noGrp="1"/>
          </p:cNvSpPr>
          <p:nvPr>
            <p:ph type="title"/>
          </p:nvPr>
        </p:nvSpPr>
        <p:spPr>
          <a:xfrm>
            <a:off x="614600" y="1263649"/>
            <a:ext cx="10962800" cy="10236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r>
              <a:rPr lang="en"/>
              <a:t>Common Feeding Challenges for LPTs:</a:t>
            </a:r>
            <a:endParaRPr/>
          </a:p>
          <a:p>
            <a:endParaRPr/>
          </a:p>
        </p:txBody>
      </p:sp>
      <p:sp>
        <p:nvSpPr>
          <p:cNvPr id="80" name="Google Shape;80;p15"/>
          <p:cNvSpPr txBox="1">
            <a:spLocks noGrp="1"/>
          </p:cNvSpPr>
          <p:nvPr>
            <p:ph type="body" idx="1"/>
          </p:nvPr>
        </p:nvSpPr>
        <p:spPr>
          <a:xfrm>
            <a:off x="629200" y="2558767"/>
            <a:ext cx="10962800" cy="361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indent="-414856">
              <a:buSzPts val="1300"/>
            </a:pPr>
            <a:r>
              <a:rPr lang="en" sz="1733" dirty="0"/>
              <a:t>Lack the ability to transfer milk well/efficiently from both breast and bottle </a:t>
            </a:r>
            <a:endParaRPr sz="1733" dirty="0"/>
          </a:p>
          <a:p>
            <a:pPr indent="-414856">
              <a:buSzPts val="1300"/>
            </a:pPr>
            <a:r>
              <a:rPr lang="en" sz="1733" dirty="0"/>
              <a:t>Lack sufficient buccal fat pads, impairing ability to generate adequate intraoral pressure (suction) </a:t>
            </a:r>
            <a:endParaRPr sz="1733" dirty="0"/>
          </a:p>
          <a:p>
            <a:pPr indent="-414856">
              <a:buSzPts val="1300"/>
            </a:pPr>
            <a:r>
              <a:rPr lang="en" sz="1733" dirty="0"/>
              <a:t>Lack energy/vigor/stamina to compress areolar tissue</a:t>
            </a:r>
            <a:endParaRPr sz="1733" dirty="0"/>
          </a:p>
          <a:p>
            <a:pPr indent="-414856">
              <a:buSzPts val="1300"/>
            </a:pPr>
            <a:r>
              <a:rPr lang="en" sz="1733" dirty="0"/>
              <a:t>Have a loss of suction at both breast and bottle</a:t>
            </a:r>
            <a:endParaRPr sz="1733" dirty="0"/>
          </a:p>
          <a:p>
            <a:pPr indent="-414856">
              <a:buSzPts val="1300"/>
            </a:pPr>
            <a:r>
              <a:rPr lang="en" sz="1733" dirty="0"/>
              <a:t>May have mouths which are too small, relative to mom’s nipple and breast, to achieve areolar compression for effective milk transfer and avoid nipple trauma</a:t>
            </a:r>
            <a:endParaRPr sz="1733" dirty="0"/>
          </a:p>
          <a:p>
            <a:pPr indent="-414856">
              <a:buSzPts val="1300"/>
            </a:pPr>
            <a:r>
              <a:rPr lang="en" sz="1733" dirty="0"/>
              <a:t>May have inadequate coordination of suck-swallow-breathe</a:t>
            </a:r>
            <a:endParaRPr sz="1733" dirty="0"/>
          </a:p>
          <a:p>
            <a:pPr indent="-414856">
              <a:buSzPts val="1300"/>
            </a:pPr>
            <a:r>
              <a:rPr lang="en" sz="1733" dirty="0"/>
              <a:t>May “power down” to conserve energy, which may be mistaken by parents for being satiated </a:t>
            </a:r>
            <a:endParaRPr sz="1733" dirty="0"/>
          </a:p>
          <a:p>
            <a:pPr indent="-414856">
              <a:buSzPts val="1300"/>
            </a:pPr>
            <a:r>
              <a:rPr lang="en" sz="1733" dirty="0"/>
              <a:t>May have prolonged feedings at breast and bottle, requiring too much energy expenditure compared to energy intake. </a:t>
            </a:r>
            <a:endParaRPr sz="1733" dirty="0"/>
          </a:p>
          <a:p>
            <a:pPr indent="-414856">
              <a:buSzPts val="1300"/>
            </a:pPr>
            <a:r>
              <a:rPr lang="en" sz="1733" dirty="0"/>
              <a:t>May not wake spontaneously and may be very difficult to wake by caregivers</a:t>
            </a:r>
            <a:endParaRPr sz="1733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6"/>
          <p:cNvSpPr txBox="1">
            <a:spLocks noGrp="1"/>
          </p:cNvSpPr>
          <p:nvPr>
            <p:ph type="title"/>
          </p:nvPr>
        </p:nvSpPr>
        <p:spPr>
          <a:xfrm>
            <a:off x="614600" y="1263649"/>
            <a:ext cx="10962800" cy="10236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endParaRPr/>
          </a:p>
          <a:p>
            <a:r>
              <a:rPr lang="en"/>
              <a:t>SUPPORTIVE INTERVENTIONS:</a:t>
            </a:r>
            <a:endParaRPr/>
          </a:p>
          <a:p>
            <a:endParaRPr/>
          </a:p>
        </p:txBody>
      </p:sp>
      <p:sp>
        <p:nvSpPr>
          <p:cNvPr id="86" name="Google Shape;86;p16"/>
          <p:cNvSpPr txBox="1">
            <a:spLocks noGrp="1"/>
          </p:cNvSpPr>
          <p:nvPr>
            <p:ph type="body" idx="1"/>
          </p:nvPr>
        </p:nvSpPr>
        <p:spPr>
          <a:xfrm>
            <a:off x="416625" y="2287237"/>
            <a:ext cx="10962800" cy="361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indent="-414856">
              <a:buSzPts val="1300"/>
            </a:pPr>
            <a:r>
              <a:rPr lang="en" sz="1733"/>
              <a:t>All breastfeeding plans consist of feeding the baby adequately and establishing maintaining the milk supply. </a:t>
            </a:r>
            <a:endParaRPr sz="1733"/>
          </a:p>
          <a:p>
            <a:pPr indent="-414856">
              <a:buSzPts val="1300"/>
            </a:pPr>
            <a:r>
              <a:rPr lang="en" sz="1733"/>
              <a:t>All LPTs should have a Supportive Discharge Feeding Plan with suggested volumes for supplementation based on DOL-see ABM Protocol #10 </a:t>
            </a:r>
            <a:endParaRPr sz="1733"/>
          </a:p>
          <a:p>
            <a:pPr indent="-414856">
              <a:buSzPts val="1300"/>
            </a:pPr>
            <a:r>
              <a:rPr lang="en" sz="1733"/>
              <a:t>Teach parents to monitor for adequate output, including to NOT count “smears and stains” in stool count </a:t>
            </a:r>
            <a:endParaRPr sz="1733"/>
          </a:p>
          <a:p>
            <a:pPr indent="-414856">
              <a:buSzPts val="1300"/>
            </a:pPr>
            <a:r>
              <a:rPr lang="en" sz="1733"/>
              <a:t>Feeding and diaper log with required minimums</a:t>
            </a:r>
            <a:endParaRPr sz="1733"/>
          </a:p>
          <a:p>
            <a:pPr indent="-414856">
              <a:buSzPts val="1300"/>
            </a:pPr>
            <a:r>
              <a:rPr lang="en" sz="1733"/>
              <a:t>Early and frequent weight checks, even for experienced parents</a:t>
            </a:r>
            <a:endParaRPr sz="1733"/>
          </a:p>
          <a:p>
            <a:pPr indent="-414856">
              <a:buSzPts val="1300"/>
            </a:pPr>
            <a:r>
              <a:rPr lang="en" sz="1733"/>
              <a:t>Weight checks while transitioning toward more direct BFing</a:t>
            </a:r>
            <a:endParaRPr sz="1733"/>
          </a:p>
          <a:p>
            <a:pPr indent="-414856">
              <a:buSzPts val="1300"/>
            </a:pPr>
            <a:r>
              <a:rPr lang="en" sz="1733"/>
              <a:t>Teach lactating parents both hand expression and hands-on pumping of breastmilk because these increase expressed milk volume, enhance fat content, and increase efficiency of milk expression.</a:t>
            </a:r>
            <a:endParaRPr sz="1733"/>
          </a:p>
          <a:p>
            <a:pPr indent="-414856">
              <a:buSzPts val="1300"/>
            </a:pPr>
            <a:r>
              <a:rPr lang="en" sz="1733"/>
              <a:t>Teach parents to differentiate between nutritive and non-nutritive feeding, and teach that routinely prolonged feedings require assessment and intervention </a:t>
            </a:r>
            <a:endParaRPr sz="1733"/>
          </a:p>
          <a:p>
            <a:pPr indent="-414856">
              <a:buSzPts val="1300"/>
            </a:pPr>
            <a:r>
              <a:rPr lang="en" sz="1733"/>
              <a:t>Teach parents to optimize positioning and latch at every direct BFing</a:t>
            </a:r>
            <a:endParaRPr sz="1733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17"/>
          <p:cNvSpPr txBox="1">
            <a:spLocks noGrp="1"/>
          </p:cNvSpPr>
          <p:nvPr>
            <p:ph type="body" idx="1"/>
          </p:nvPr>
        </p:nvSpPr>
        <p:spPr>
          <a:xfrm>
            <a:off x="614600" y="345635"/>
            <a:ext cx="10962800" cy="57288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indent="-406390" algn="l">
              <a:buSzPts val="1200"/>
            </a:pPr>
            <a:r>
              <a:rPr lang="en" sz="1600" dirty="0"/>
              <a:t>Skilled lactation support to evaluate and optimize direct </a:t>
            </a:r>
            <a:r>
              <a:rPr lang="en" sz="1600" dirty="0" err="1"/>
              <a:t>BFing</a:t>
            </a:r>
            <a:r>
              <a:rPr lang="en" sz="1600" dirty="0"/>
              <a:t>, ensure adequate intake, output, and weight gain, establish and maintain milk supply, and transition to direct </a:t>
            </a:r>
            <a:r>
              <a:rPr lang="en" sz="1600" dirty="0" err="1"/>
              <a:t>BFing</a:t>
            </a:r>
            <a:r>
              <a:rPr lang="en" sz="1600" dirty="0"/>
              <a:t> </a:t>
            </a:r>
            <a:endParaRPr sz="1600" dirty="0"/>
          </a:p>
          <a:p>
            <a:pPr indent="-406390" algn="l">
              <a:buSzPts val="1200"/>
            </a:pPr>
            <a:r>
              <a:rPr lang="en" sz="1600" dirty="0"/>
              <a:t>Do NOT encourage “triple feeding” (breast, bottle, pump) for EVERY feeding. It’s exhausting and not feasible for most families and likely to contribute to early cessation of human milk feeding. </a:t>
            </a:r>
            <a:endParaRPr sz="1600" dirty="0"/>
          </a:p>
          <a:p>
            <a:pPr indent="-406390" algn="l">
              <a:buSzPts val="1200"/>
            </a:pPr>
            <a:r>
              <a:rPr lang="en" sz="1600" dirty="0"/>
              <a:t>For babies who require supplementation at most feedings, 2-4 triple feeds, and 4-6 “bottle and pump only” feedings per day is more sustainable.</a:t>
            </a:r>
            <a:endParaRPr sz="1600" dirty="0"/>
          </a:p>
          <a:p>
            <a:pPr indent="-406390" algn="l">
              <a:buSzPts val="1200"/>
            </a:pPr>
            <a:r>
              <a:rPr lang="en" sz="1600" dirty="0"/>
              <a:t>LPT Babies who have demonstrated effective and efficient milk transfer, have not lost too much weight, and have adequate output may not need supplementation after every </a:t>
            </a:r>
            <a:r>
              <a:rPr lang="en" sz="1600" dirty="0" err="1"/>
              <a:t>BFing</a:t>
            </a:r>
            <a:r>
              <a:rPr lang="en" sz="1600" dirty="0"/>
              <a:t>, but should be offered EBM supplementation. Mom should pump enough to produce whatever supplement is required, BUT supplementation should NOT be limited to available breastmilk. </a:t>
            </a:r>
            <a:endParaRPr sz="1600" dirty="0"/>
          </a:p>
          <a:p>
            <a:pPr indent="-406390" algn="l">
              <a:buSzPts val="1200"/>
            </a:pPr>
            <a:r>
              <a:rPr lang="en" sz="1600" dirty="0"/>
              <a:t>Do NOT require feedings every 2 hrs. Instead, require a minimum of 8 feedings per 24 hours, but allow 1-2 longer sleep sessions of 3-4 hours, depending on baby’s age and condition. </a:t>
            </a:r>
            <a:endParaRPr sz="1600" dirty="0"/>
          </a:p>
          <a:p>
            <a:pPr indent="-406390" algn="l">
              <a:buSzPts val="1200"/>
            </a:pPr>
            <a:r>
              <a:rPr lang="en" sz="1600" dirty="0"/>
              <a:t>DO have mom either pump once for every time a supplement is given, OR pump enough to produce all needed supplements. Instruct lactating parents to avoid excessive oversupply of breastmilk. </a:t>
            </a:r>
            <a:endParaRPr sz="1600" dirty="0"/>
          </a:p>
          <a:p>
            <a:pPr indent="-406390" algn="l">
              <a:buSzPts val="1200"/>
            </a:pPr>
            <a:r>
              <a:rPr lang="en" sz="1600" dirty="0"/>
              <a:t>Suggest parents limit time of direct </a:t>
            </a:r>
            <a:r>
              <a:rPr lang="en" sz="1600" dirty="0" err="1"/>
              <a:t>BFing</a:t>
            </a:r>
            <a:r>
              <a:rPr lang="en" sz="1600" dirty="0"/>
              <a:t> sessions to not more than 20 minutes for most sessions, to allow time for supplementation and pumping.  If feeding is non-nutritive despite breast compressions, less than 20 minutes. When </a:t>
            </a:r>
            <a:r>
              <a:rPr lang="en" sz="1600" dirty="0" err="1"/>
              <a:t>BFing</a:t>
            </a:r>
            <a:r>
              <a:rPr lang="en" sz="1600" dirty="0"/>
              <a:t> is going well, with proven milk transfer, time at the breast and sessions per day can gradually increase. </a:t>
            </a:r>
            <a:endParaRPr sz="1600" dirty="0"/>
          </a:p>
          <a:p>
            <a:pPr indent="-406390" algn="l">
              <a:buSzPts val="1200"/>
            </a:pPr>
            <a:r>
              <a:rPr lang="en" sz="1600" dirty="0"/>
              <a:t>Some LPTs may be able to gain weight well from mostly direct </a:t>
            </a:r>
            <a:r>
              <a:rPr lang="en" sz="1600" dirty="0" err="1"/>
              <a:t>BFing</a:t>
            </a:r>
            <a:r>
              <a:rPr lang="en" sz="1600" dirty="0"/>
              <a:t> with optimized position and latch and breast compressions; others may need 6-8 supplemental feedings per day and limited </a:t>
            </a:r>
            <a:r>
              <a:rPr lang="en" sz="1600" dirty="0" err="1"/>
              <a:t>BFing</a:t>
            </a:r>
            <a:r>
              <a:rPr lang="en" sz="1600" dirty="0"/>
              <a:t>, temporarily. </a:t>
            </a:r>
            <a:endParaRPr sz="1600" dirty="0"/>
          </a:p>
          <a:p>
            <a:pPr indent="-406390" algn="l">
              <a:buSzPts val="1200"/>
            </a:pPr>
            <a:r>
              <a:rPr lang="en" sz="1600" dirty="0"/>
              <a:t>Ensure that LPT babies can take required supplements in a reasonable period of time (10-20 minutes). Teach paced bottle feeding.</a:t>
            </a:r>
            <a:endParaRPr sz="16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D1BA6F-25CD-CB48-9991-4CC4DFCB23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6828319-7D58-52CA-9B6E-EE029D3316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4596" y="2377900"/>
            <a:ext cx="2350169" cy="202602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  <a:ea typeface="Lato Medium"/>
                <a:cs typeface="Lato Medium"/>
              </a:rPr>
              <a:t>A First Look at the Next Initiativ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3103EB7-ABCD-F8BC-3406-AE4FB3C8A6D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2EDA17-3BF6-3333-FD69-2ECC4C89EC8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63938" y="2295525"/>
            <a:ext cx="8628062" cy="13255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633CCB-1A31-4B26-6082-EFF80CEF05D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9" name="Picture 8" descr="A corner of flowers and leaves&#10;&#10;AI-generated content may be incorrect.">
            <a:extLst>
              <a:ext uri="{FF2B5EF4-FFF2-40B4-BE49-F238E27FC236}">
                <a16:creationId xmlns:a16="http://schemas.microsoft.com/office/drawing/2014/main" id="{FA78A313-0629-36E4-0E02-DB374D045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76421" y="-625473"/>
            <a:ext cx="4426789" cy="442732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A7708A-0CB0-BE87-5CA4-D94CA5EFC54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11" name="Freeform 14" descr="A close-up of flowers in grass&#10;&#10;AI-generated content may be incorrect.">
            <a:extLst>
              <a:ext uri="{FF2B5EF4-FFF2-40B4-BE49-F238E27FC236}">
                <a16:creationId xmlns:a16="http://schemas.microsoft.com/office/drawing/2014/main" id="{35EB86F0-393E-346A-A34E-36C9F645C752}"/>
              </a:ext>
            </a:extLst>
          </p:cNvPr>
          <p:cNvSpPr/>
          <p:nvPr/>
        </p:nvSpPr>
        <p:spPr>
          <a:xfrm>
            <a:off x="-646981" y="5472593"/>
            <a:ext cx="7848600" cy="1543558"/>
          </a:xfrm>
          <a:custGeom>
            <a:avLst/>
            <a:gdLst/>
            <a:ahLst/>
            <a:cxnLst/>
            <a:rect l="l" t="t" r="r" b="b"/>
            <a:pathLst>
              <a:path w="11772900" h="2315337">
                <a:moveTo>
                  <a:pt x="0" y="0"/>
                </a:moveTo>
                <a:lnTo>
                  <a:pt x="11772900" y="0"/>
                </a:lnTo>
                <a:lnTo>
                  <a:pt x="11772900" y="2315337"/>
                </a:lnTo>
                <a:lnTo>
                  <a:pt x="0" y="231533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3" name="Freeform 13" descr="A cartoon of a bird on a branch&#10;&#10;AI-generated content may be incorrect.">
            <a:extLst>
              <a:ext uri="{FF2B5EF4-FFF2-40B4-BE49-F238E27FC236}">
                <a16:creationId xmlns:a16="http://schemas.microsoft.com/office/drawing/2014/main" id="{A6CD541C-C431-49CA-034E-1AEC4CCCDF0F}"/>
              </a:ext>
            </a:extLst>
          </p:cNvPr>
          <p:cNvSpPr/>
          <p:nvPr/>
        </p:nvSpPr>
        <p:spPr>
          <a:xfrm>
            <a:off x="570080" y="493310"/>
            <a:ext cx="1629063" cy="1442822"/>
          </a:xfrm>
          <a:custGeom>
            <a:avLst/>
            <a:gdLst/>
            <a:ahLst/>
            <a:cxnLst/>
            <a:rect l="l" t="t" r="r" b="b"/>
            <a:pathLst>
              <a:path w="3715992" h="3005309">
                <a:moveTo>
                  <a:pt x="0" y="0"/>
                </a:moveTo>
                <a:lnTo>
                  <a:pt x="3715992" y="0"/>
                </a:lnTo>
                <a:lnTo>
                  <a:pt x="3715992" y="3005308"/>
                </a:lnTo>
                <a:lnTo>
                  <a:pt x="0" y="3005308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BFF0784-7956-D925-244C-6AF0A0A726FD}"/>
              </a:ext>
            </a:extLst>
          </p:cNvPr>
          <p:cNvSpPr/>
          <p:nvPr/>
        </p:nvSpPr>
        <p:spPr>
          <a:xfrm>
            <a:off x="7555294" y="5797027"/>
            <a:ext cx="3850773" cy="86092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ea typeface="Calibri"/>
                <a:cs typeface="Calibri"/>
              </a:rPr>
              <a:t>IL-LPI Hatching at Annual Conference 2026</a:t>
            </a:r>
          </a:p>
        </p:txBody>
      </p:sp>
      <p:pic>
        <p:nvPicPr>
          <p:cNvPr id="7" name="Picture 6" descr="Eggs and chick">
            <a:extLst>
              <a:ext uri="{FF2B5EF4-FFF2-40B4-BE49-F238E27FC236}">
                <a16:creationId xmlns:a16="http://schemas.microsoft.com/office/drawing/2014/main" id="{AF124B9E-3A2E-158F-770A-18EED9562D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051" y="435188"/>
            <a:ext cx="7958717" cy="5305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3077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18"/>
          <p:cNvSpPr txBox="1"/>
          <p:nvPr/>
        </p:nvSpPr>
        <p:spPr>
          <a:xfrm>
            <a:off x="-2723931" y="208455"/>
            <a:ext cx="12192000" cy="800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3600" kern="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Resources:</a:t>
            </a:r>
            <a:endParaRPr sz="3600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97" name="Google Shape;97;p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105888" y="208467"/>
            <a:ext cx="4571232" cy="5910333"/>
          </a:xfrm>
          <a:prstGeom prst="rect">
            <a:avLst/>
          </a:prstGeom>
          <a:noFill/>
          <a:ln>
            <a:noFill/>
          </a:ln>
        </p:spPr>
      </p:pic>
      <p:sp>
        <p:nvSpPr>
          <p:cNvPr id="98" name="Google Shape;98;p18"/>
          <p:cNvSpPr txBox="1"/>
          <p:nvPr/>
        </p:nvSpPr>
        <p:spPr>
          <a:xfrm>
            <a:off x="-49133" y="1006057"/>
            <a:ext cx="6842400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endParaRPr sz="2400" kern="0">
              <a:solidFill>
                <a:srgbClr val="737373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9" name="Google Shape;99;p18"/>
          <p:cNvSpPr txBox="1"/>
          <p:nvPr/>
        </p:nvSpPr>
        <p:spPr>
          <a:xfrm>
            <a:off x="7105900" y="6118801"/>
            <a:ext cx="4476800" cy="800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1200" u="sng" kern="0">
                <a:solidFill>
                  <a:srgbClr val="4FC3F7"/>
                </a:solidFill>
                <a:latin typeface="Roboto"/>
                <a:ea typeface="Roboto"/>
                <a:cs typeface="Roboto"/>
                <a:sym typeface="Roboto"/>
                <a:hlinkClick r:id="rId4"/>
              </a:rPr>
              <a:t>https://cdn.slidesharecdn.com/ss_thumbnails/breastfeedinglogfristtwoweeks-090611085650-phpapp01-thumbnail.jpg?width=640&amp;height=640&amp;fit=bounds</a:t>
            </a:r>
            <a:endParaRPr sz="1200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0" name="Google Shape;100;p18"/>
          <p:cNvSpPr txBox="1"/>
          <p:nvPr/>
        </p:nvSpPr>
        <p:spPr>
          <a:xfrm>
            <a:off x="0" y="920833"/>
            <a:ext cx="7106000" cy="5828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2267" kern="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“Weekly weight checks until 40 weeks (CGA)” </a:t>
            </a:r>
            <a:r>
              <a:rPr lang="en" sz="2267" u="sng" kern="0">
                <a:solidFill>
                  <a:srgbClr val="4FC3F7"/>
                </a:solidFill>
                <a:latin typeface="Roboto"/>
                <a:ea typeface="Roboto"/>
                <a:cs typeface="Roboto"/>
                <a:sym typeface="Roboto"/>
                <a:hlinkClick r:id="rId5"/>
              </a:rPr>
              <a:t>https://www.breastfeedingmedicine.com/assets/DOCUMENTS/PROTOCOLS /10-breastfeeding-the-late-pre-term-infant-protocol-english.pdf</a:t>
            </a:r>
            <a:endParaRPr sz="2267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  <a:p>
            <a:pPr defTabSz="1219170">
              <a:buClr>
                <a:srgbClr val="000000"/>
              </a:buClr>
            </a:pPr>
            <a:endParaRPr sz="2267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  <a:p>
            <a:pPr defTabSz="1219170">
              <a:buClr>
                <a:srgbClr val="000000"/>
              </a:buClr>
            </a:pPr>
            <a:r>
              <a:rPr lang="en" sz="2267" u="sng" kern="0">
                <a:solidFill>
                  <a:srgbClr val="4FC3F7"/>
                </a:solidFill>
                <a:latin typeface="Roboto"/>
                <a:ea typeface="Roboto"/>
                <a:cs typeface="Roboto"/>
                <a:sym typeface="Roboto"/>
                <a:hlinkClick r:id="rId6"/>
              </a:rPr>
              <a:t>Hand Expressing Milk | Newborn Nursery | Stanford Medicine</a:t>
            </a:r>
            <a:endParaRPr sz="2267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  <a:p>
            <a:pPr defTabSz="1219170">
              <a:buClr>
                <a:srgbClr val="000000"/>
              </a:buClr>
            </a:pPr>
            <a:endParaRPr sz="2267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  <a:p>
            <a:pPr defTabSz="1219170">
              <a:buClr>
                <a:srgbClr val="000000"/>
              </a:buClr>
            </a:pPr>
            <a:r>
              <a:rPr lang="en" sz="2267" u="sng" kern="0">
                <a:solidFill>
                  <a:srgbClr val="4FC3F7"/>
                </a:solidFill>
                <a:latin typeface="Roboto"/>
                <a:ea typeface="Roboto"/>
                <a:cs typeface="Roboto"/>
                <a:sym typeface="Roboto"/>
                <a:hlinkClick r:id="rId7"/>
              </a:rPr>
              <a:t>Maximizing Milk Production | Newborn Nursery | Stanford Medicine</a:t>
            </a:r>
            <a:endParaRPr sz="2267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  <a:p>
            <a:pPr defTabSz="1219170">
              <a:buClr>
                <a:srgbClr val="000000"/>
              </a:buClr>
            </a:pPr>
            <a:endParaRPr sz="2267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  <a:p>
            <a:pPr defTabSz="1219170">
              <a:buClr>
                <a:srgbClr val="000000"/>
              </a:buClr>
            </a:pPr>
            <a:r>
              <a:rPr lang="en" sz="2267" u="sng" kern="0">
                <a:solidFill>
                  <a:srgbClr val="4FC3F7"/>
                </a:solidFill>
                <a:latin typeface="Roboto"/>
                <a:ea typeface="Roboto"/>
                <a:cs typeface="Roboto"/>
                <a:sym typeface="Roboto"/>
                <a:hlinkClick r:id="rId8"/>
              </a:rPr>
              <a:t>Attaching Your Baby at the Breast - Video - Global Health Media Project</a:t>
            </a:r>
            <a:endParaRPr sz="2267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  <a:p>
            <a:pPr defTabSz="1219170">
              <a:buClr>
                <a:srgbClr val="000000"/>
              </a:buClr>
            </a:pPr>
            <a:endParaRPr sz="2267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  <a:p>
            <a:pPr defTabSz="1219170">
              <a:buClr>
                <a:srgbClr val="000000"/>
              </a:buClr>
            </a:pPr>
            <a:r>
              <a:rPr lang="en" sz="2267" u="sng" kern="0">
                <a:solidFill>
                  <a:srgbClr val="4FC3F7"/>
                </a:solidFill>
                <a:latin typeface="Roboto"/>
                <a:ea typeface="Roboto"/>
                <a:cs typeface="Roboto"/>
                <a:sym typeface="Roboto"/>
                <a:hlinkClick r:id="rId9"/>
              </a:rPr>
              <a:t>Is Your Baby Getting Enough Milk - Video - Global Health Media Project</a:t>
            </a:r>
            <a:endParaRPr sz="2267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88">
          <a:extLst>
            <a:ext uri="{FF2B5EF4-FFF2-40B4-BE49-F238E27FC236}">
              <a16:creationId xmlns:a16="http://schemas.microsoft.com/office/drawing/2014/main" id="{76EA8CFF-27E8-A77C-C0E1-D3AAED80A2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89" name="Google Shape;16689;p276">
            <a:extLst>
              <a:ext uri="{FF2B5EF4-FFF2-40B4-BE49-F238E27FC236}">
                <a16:creationId xmlns:a16="http://schemas.microsoft.com/office/drawing/2014/main" id="{51FCD479-360F-F2AB-63EC-09359E78BA6A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379369" y="2275639"/>
            <a:ext cx="5736550" cy="49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sz="3200">
                <a:solidFill>
                  <a:srgbClr val="1B477A"/>
                </a:solidFill>
                <a:latin typeface="Montserrat"/>
                <a:sym typeface="DM Sans"/>
              </a:rPr>
              <a:t>Panelist</a:t>
            </a:r>
            <a:endParaRPr lang="en-US" sz="3200" b="0">
              <a:solidFill>
                <a:srgbClr val="1B477A"/>
              </a:solidFill>
              <a:latin typeface="Montserra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0B7EC9F-557B-1324-1656-E0A3FDAF20E5}"/>
              </a:ext>
            </a:extLst>
          </p:cNvPr>
          <p:cNvSpPr txBox="1"/>
          <p:nvPr/>
        </p:nvSpPr>
        <p:spPr>
          <a:xfrm>
            <a:off x="1380226" y="3208026"/>
            <a:ext cx="7577347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000" b="1">
                <a:solidFill>
                  <a:srgbClr val="000000"/>
                </a:solidFill>
                <a:latin typeface="Montserrat"/>
                <a:cs typeface="Arial"/>
              </a:rPr>
              <a:t>Kristina</a:t>
            </a:r>
            <a:r>
              <a:rPr lang="en-US" sz="2000" b="1" dirty="0">
                <a:solidFill>
                  <a:srgbClr val="000000"/>
                </a:solidFill>
                <a:latin typeface="Montserrat"/>
                <a:cs typeface="Arial"/>
              </a:rPr>
              <a:t> Dakis, MD</a:t>
            </a:r>
            <a:r>
              <a:rPr lang="en-US" sz="2000" dirty="0">
                <a:solidFill>
                  <a:srgbClr val="000000"/>
                </a:solidFill>
                <a:latin typeface="Montserrat"/>
                <a:cs typeface="Arial"/>
              </a:rPr>
              <a:t> </a:t>
            </a:r>
            <a:endParaRPr lang="en-US" sz="2000" dirty="0">
              <a:solidFill>
                <a:srgbClr val="444C55"/>
              </a:solidFill>
              <a:latin typeface="Montserrat"/>
              <a:cs typeface="Arial"/>
            </a:endParaRPr>
          </a:p>
          <a:p>
            <a:r>
              <a:rPr lang="en-US" sz="2000" i="1">
                <a:solidFill>
                  <a:srgbClr val="000000"/>
                </a:solidFill>
                <a:latin typeface="Montserrat"/>
                <a:cs typeface="Arial"/>
              </a:rPr>
              <a:t>Family Medicine Physician, Gibson Area Hospital </a:t>
            </a:r>
            <a:endParaRPr lang="en-US"/>
          </a:p>
          <a:p>
            <a:pPr algn="ctr"/>
            <a:endParaRPr lang="en-US" sz="2000">
              <a:solidFill>
                <a:srgbClr val="444C55"/>
              </a:solidFill>
              <a:latin typeface="Arial"/>
              <a:ea typeface="Montserrat"/>
              <a:cs typeface="Arial"/>
            </a:endParaRPr>
          </a:p>
        </p:txBody>
      </p:sp>
      <p:pic>
        <p:nvPicPr>
          <p:cNvPr id="4" name="Picture 3" descr="A person in a blue shirt&#10;&#10;AI-generated content may be incorrect.">
            <a:extLst>
              <a:ext uri="{FF2B5EF4-FFF2-40B4-BE49-F238E27FC236}">
                <a16:creationId xmlns:a16="http://schemas.microsoft.com/office/drawing/2014/main" id="{4EA30072-C06B-45F2-2F0F-5A5788CE3E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2289" y="2004039"/>
            <a:ext cx="2488173" cy="2405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4080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88">
          <a:extLst>
            <a:ext uri="{FF2B5EF4-FFF2-40B4-BE49-F238E27FC236}">
              <a16:creationId xmlns:a16="http://schemas.microsoft.com/office/drawing/2014/main" id="{5092774A-6BC2-06A8-582E-911DA36ED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89" name="Google Shape;16689;p276">
            <a:extLst>
              <a:ext uri="{FF2B5EF4-FFF2-40B4-BE49-F238E27FC236}">
                <a16:creationId xmlns:a16="http://schemas.microsoft.com/office/drawing/2014/main" id="{084E0DE6-EE1E-83DF-5C4F-59E2BDA1BFD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379369" y="2296805"/>
            <a:ext cx="5736550" cy="49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sz="3200">
                <a:solidFill>
                  <a:srgbClr val="1B477A"/>
                </a:solidFill>
                <a:latin typeface="Montserrat"/>
                <a:sym typeface="DM Sans"/>
              </a:rPr>
              <a:t>Panelist</a:t>
            </a:r>
            <a:endParaRPr lang="en-US" sz="3200" b="0">
              <a:solidFill>
                <a:srgbClr val="1B477A"/>
              </a:solidFill>
              <a:latin typeface="Montserra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23A305-1421-B8FA-0402-E54D8A149444}"/>
              </a:ext>
            </a:extLst>
          </p:cNvPr>
          <p:cNvSpPr txBox="1"/>
          <p:nvPr/>
        </p:nvSpPr>
        <p:spPr>
          <a:xfrm>
            <a:off x="1380226" y="3208026"/>
            <a:ext cx="7577347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000" b="1">
                <a:solidFill>
                  <a:srgbClr val="000000"/>
                </a:solidFill>
                <a:latin typeface="Montserrat"/>
                <a:cs typeface="Arial"/>
              </a:rPr>
              <a:t>Malika D. Shah, MD</a:t>
            </a:r>
            <a:r>
              <a:rPr lang="en-US" sz="2000" dirty="0">
                <a:solidFill>
                  <a:srgbClr val="000000"/>
                </a:solidFill>
                <a:latin typeface="Montserrat"/>
                <a:cs typeface="Arial"/>
              </a:rPr>
              <a:t> </a:t>
            </a:r>
            <a:endParaRPr lang="en-US" sz="2000" dirty="0">
              <a:solidFill>
                <a:srgbClr val="444C55"/>
              </a:solidFill>
              <a:latin typeface="Montserrat"/>
              <a:cs typeface="Arial"/>
            </a:endParaRPr>
          </a:p>
          <a:p>
            <a:r>
              <a:rPr lang="en-US" sz="2000" i="1">
                <a:solidFill>
                  <a:srgbClr val="000000"/>
                </a:solidFill>
                <a:latin typeface="Montserrat"/>
                <a:cs typeface="Arial"/>
              </a:rPr>
              <a:t>Neonatologist, Medical Director, Newborn Nursery, Prentice Women’s Hospital Northwestern Medicine </a:t>
            </a:r>
            <a:endParaRPr lang="en-US"/>
          </a:p>
          <a:p>
            <a:pPr algn="ctr"/>
            <a:endParaRPr lang="en-US" sz="2000">
              <a:solidFill>
                <a:srgbClr val="444C55"/>
              </a:solidFill>
              <a:latin typeface="Arial"/>
              <a:ea typeface="Montserrat"/>
              <a:cs typeface="Arial"/>
            </a:endParaRPr>
          </a:p>
        </p:txBody>
      </p:sp>
      <p:pic>
        <p:nvPicPr>
          <p:cNvPr id="4" name="Picture 3" descr="A close-up of a person smiling&#10;&#10;AI-generated content may be incorrect.">
            <a:extLst>
              <a:ext uri="{FF2B5EF4-FFF2-40B4-BE49-F238E27FC236}">
                <a16:creationId xmlns:a16="http://schemas.microsoft.com/office/drawing/2014/main" id="{370FCE5D-A3EB-8790-A165-94FB2D4499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0301" y="2198369"/>
            <a:ext cx="2495437" cy="2332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6892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-632072" y="4223701"/>
            <a:ext cx="11894431" cy="1653951"/>
          </a:xfrm>
        </p:spPr>
        <p:txBody>
          <a:bodyPr/>
          <a:lstStyle/>
          <a:p>
            <a:pPr algn="ctr"/>
            <a:r>
              <a:rPr lang="en-US" sz="3733" b="1" dirty="0"/>
              <a:t>Late Premature Infants</a:t>
            </a:r>
            <a:br>
              <a:rPr lang="en-US" sz="3733" b="1" dirty="0"/>
            </a:br>
            <a:r>
              <a:rPr lang="en-US" sz="3733" b="1" dirty="0"/>
              <a:t>Babies at Risk</a:t>
            </a:r>
            <a:br>
              <a:rPr lang="en-US" sz="3733" b="1" dirty="0"/>
            </a:br>
            <a:br>
              <a:rPr lang="en-US" sz="3733" b="1" dirty="0"/>
            </a:br>
            <a:r>
              <a:rPr lang="en-US" sz="2667" b="1" dirty="0"/>
              <a:t>May 21, 2026</a:t>
            </a:r>
            <a:br>
              <a:rPr lang="en-US" sz="2667" b="1" dirty="0"/>
            </a:br>
            <a:r>
              <a:rPr lang="en-US" sz="2667" b="1" dirty="0"/>
              <a:t>Malika Shah, MD</a:t>
            </a:r>
            <a:br>
              <a:rPr lang="en-US" sz="2667" b="1" dirty="0"/>
            </a:br>
            <a:r>
              <a:rPr lang="en-US" sz="2667" b="1" dirty="0"/>
              <a:t>Medical Director, Northwestern Newborn Nursery</a:t>
            </a:r>
            <a:br>
              <a:rPr lang="en-US" sz="2667" b="1" dirty="0"/>
            </a:br>
            <a:r>
              <a:rPr lang="en-US" sz="2667" b="1" dirty="0"/>
              <a:t>Associate Professor, Northwestern Feinberg School of Medicine</a:t>
            </a:r>
            <a:br>
              <a:rPr lang="en-US" sz="3733" b="1" dirty="0"/>
            </a:br>
            <a:endParaRPr lang="en-US" sz="3733" b="1" dirty="0"/>
          </a:p>
        </p:txBody>
      </p:sp>
      <p:pic>
        <p:nvPicPr>
          <p:cNvPr id="3" name="Picture 2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ACA3B372-7981-A04F-9F75-58EC23971BF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5000"/>
          </a:blip>
          <a:stretch>
            <a:fillRect/>
          </a:stretch>
        </p:blipFill>
        <p:spPr>
          <a:xfrm rot="1321171">
            <a:off x="9427155" y="3786020"/>
            <a:ext cx="2180208" cy="2884409"/>
          </a:xfrm>
          <a:prstGeom prst="rect">
            <a:avLst/>
          </a:prstGeom>
        </p:spPr>
      </p:pic>
      <p:pic>
        <p:nvPicPr>
          <p:cNvPr id="4" name="Picture 3" descr="A close-up of a person smiling&#10;&#10;AI-generated content may be incorrect.">
            <a:extLst>
              <a:ext uri="{FF2B5EF4-FFF2-40B4-BE49-F238E27FC236}">
                <a16:creationId xmlns:a16="http://schemas.microsoft.com/office/drawing/2014/main" id="{60791F44-1BFA-FE81-DCCB-C4A0F0AA41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11541" y="456633"/>
            <a:ext cx="2021460" cy="237744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78F7040-B824-4A25-5E3E-ED4CAACC6BEB}"/>
              </a:ext>
            </a:extLst>
          </p:cNvPr>
          <p:cNvSpPr txBox="1"/>
          <p:nvPr/>
        </p:nvSpPr>
        <p:spPr>
          <a:xfrm>
            <a:off x="9509760" y="6279870"/>
            <a:ext cx="31026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2400" dirty="0">
                <a:solidFill>
                  <a:prstClr val="white"/>
                </a:solidFill>
                <a:latin typeface="Calibri"/>
              </a:rPr>
              <a:t>Nothing to disclose</a:t>
            </a:r>
          </a:p>
        </p:txBody>
      </p:sp>
    </p:spTree>
    <p:extLst>
      <p:ext uri="{BB962C8B-B14F-4D97-AF65-F5344CB8AC3E}">
        <p14:creationId xmlns:p14="http://schemas.microsoft.com/office/powerpoint/2010/main" val="5011977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BB77C-4CD9-4343-8C85-A839B96461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759CAE-952E-964F-889C-E7DB652FC0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366" y="1732550"/>
            <a:ext cx="11364087" cy="4258509"/>
          </a:xfrm>
        </p:spPr>
        <p:txBody>
          <a:bodyPr/>
          <a:lstStyle/>
          <a:p>
            <a:r>
              <a:rPr lang="en-US" sz="2667" dirty="0"/>
              <a:t>Late Preterm infant deliveries grew by 33% from 1981 to 2009</a:t>
            </a:r>
          </a:p>
          <a:p>
            <a:r>
              <a:rPr lang="en-US" sz="2667" dirty="0"/>
              <a:t>Now make-up over 7% of the premature population of the United States</a:t>
            </a:r>
          </a:p>
          <a:p>
            <a:r>
              <a:rPr lang="en-US" sz="2667" dirty="0"/>
              <a:t>High risk of readmission</a:t>
            </a:r>
          </a:p>
          <a:p>
            <a:r>
              <a:rPr lang="en-US" sz="2667" dirty="0"/>
              <a:t>Higher risk of morbidity</a:t>
            </a:r>
          </a:p>
          <a:p>
            <a:r>
              <a:rPr lang="en-US" sz="2667" dirty="0"/>
              <a:t>Least likely to have organized developmental follow-up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749F2F-056C-DD4F-8E41-3E3E80BE97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09585"/>
            <a:fld id="{0D558541-60C9-42A2-8392-FF12533A6B7A}" type="slidenum">
              <a:rPr lang="en-US">
                <a:solidFill>
                  <a:srgbClr val="B0A2C5"/>
                </a:solidFill>
                <a:latin typeface="Calibri"/>
              </a:rPr>
              <a:pPr defTabSz="609585"/>
              <a:t>24</a:t>
            </a:fld>
            <a:endParaRPr lang="en-US" dirty="0">
              <a:solidFill>
                <a:srgbClr val="B0A2C5"/>
              </a:solidFill>
              <a:latin typeface="Calibri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53D8AE9-E0E6-CD9E-B68A-EF4A693FB97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39916" y="6321827"/>
            <a:ext cx="9144000" cy="2159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254000" tIns="0" rIns="127000" bIns="63500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609585">
              <a:defRPr kumimoji="0" sz="1800" b="0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/>
                <a:sym typeface="Wingdings" charset="2"/>
              </a:defRPr>
            </a:pPr>
            <a:r>
              <a:rPr lang="en-US" altLang="en-US" sz="2133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Helvetica" pitchFamily="2" charset="0"/>
                <a:cs typeface="Arial"/>
                <a:sym typeface="Wingdings"/>
              </a:rPr>
              <a:t>Pediatrics. 2019;144(5). doi:10.1542/peds.2019-2760</a:t>
            </a:r>
          </a:p>
        </p:txBody>
      </p:sp>
    </p:spTree>
    <p:extLst>
      <p:ext uri="{BB962C8B-B14F-4D97-AF65-F5344CB8AC3E}">
        <p14:creationId xmlns:p14="http://schemas.microsoft.com/office/powerpoint/2010/main" val="28567081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2E593E1-96D3-B3B1-A0E8-2921B96536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US" dirty="0"/>
              <a:t>So Many Babies!</a:t>
            </a:r>
          </a:p>
        </p:txBody>
      </p:sp>
      <p:pic>
        <p:nvPicPr>
          <p:cNvPr id="14" name="New picture">
            <a:extLst>
              <a:ext uri="{FF2B5EF4-FFF2-40B4-BE49-F238E27FC236}">
                <a16:creationId xmlns:a16="http://schemas.microsoft.com/office/drawing/2014/main" id="{CEA04E00-BF19-F2E0-D04B-B9C1BEC908E3}"/>
              </a:ext>
            </a:extLst>
          </p:cNvPr>
          <p:cNvPicPr>
            <a:picLocks noGrp="1" noChangeAspect="1" noChangeArrowheads="1"/>
          </p:cNvPicPr>
          <p:nvPr>
            <p:ph sz="half" idx="1"/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0586" y="1909012"/>
            <a:ext cx="5190748" cy="3905741"/>
          </a:xfrm>
          <a:prstGeom prst="rect">
            <a:avLst/>
          </a:prstGeom>
          <a:noFill/>
          <a:ln w="9525" cap="flat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80DB71-6258-6C2E-888C-3C487A92246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 wrap="none" anchor="b">
            <a:normAutofit/>
          </a:bodyPr>
          <a:lstStyle/>
          <a:p>
            <a:pPr defTabSz="609585">
              <a:spcAft>
                <a:spcPts val="800"/>
              </a:spcAft>
            </a:pPr>
            <a:fld id="{4221F580-C0C7-FE4A-BB06-8E6F259722CB}" type="datetime1">
              <a:rPr lang="en-US">
                <a:solidFill>
                  <a:srgbClr val="54585A"/>
                </a:solidFill>
                <a:latin typeface="Calibri"/>
              </a:rPr>
              <a:pPr defTabSz="609585">
                <a:spcAft>
                  <a:spcPts val="800"/>
                </a:spcAft>
              </a:pPr>
              <a:t>6/1/2026</a:t>
            </a:fld>
            <a:endParaRPr lang="en-US">
              <a:solidFill>
                <a:srgbClr val="54585A"/>
              </a:solidFill>
              <a:latin typeface="Calibr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9EEDB4-3A7B-1AB6-7AA5-148E8FAB98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anchor="b">
            <a:normAutofit fontScale="92500" lnSpcReduction="10000"/>
          </a:bodyPr>
          <a:lstStyle/>
          <a:p>
            <a:pPr defTabSz="609585">
              <a:defRPr kumimoji="0" sz="1800" b="0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/>
                <a:sym typeface="Wingdings" charset="2"/>
              </a:defRPr>
            </a:pPr>
            <a:r>
              <a:rPr lang="en-US" altLang="en-US" sz="24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latin typeface="Helvetica" pitchFamily="2" charset="0"/>
                <a:ea typeface="ＭＳ Ｐゴシック" pitchFamily="34" charset="-128"/>
                <a:cs typeface="Arial"/>
                <a:sym typeface="Wingdings"/>
              </a:rPr>
              <a:t>Pediatrics. 2019;144(5). doi:10.1542/peds.2019-2760</a:t>
            </a:r>
          </a:p>
        </p:txBody>
      </p:sp>
      <p:sp>
        <p:nvSpPr>
          <p:cNvPr id="30" name="Slide Number Placeholder 9">
            <a:extLst>
              <a:ext uri="{FF2B5EF4-FFF2-40B4-BE49-F238E27FC236}">
                <a16:creationId xmlns:a16="http://schemas.microsoft.com/office/drawing/2014/main" id="{1DFD317B-A7E9-FB7A-F37A-56D628D8C1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09585">
              <a:spcAft>
                <a:spcPts val="800"/>
              </a:spcAft>
            </a:pPr>
            <a:fld id="{0D558541-60C9-42A2-8392-FF12533A6B7A}" type="slidenum">
              <a:rPr lang="en-US">
                <a:solidFill>
                  <a:prstClr val="white"/>
                </a:solidFill>
                <a:latin typeface="Calibri"/>
              </a:rPr>
              <a:pPr defTabSz="609585">
                <a:spcAft>
                  <a:spcPts val="800"/>
                </a:spcAft>
              </a:pPr>
              <a:t>25</a:t>
            </a:fld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5" name="New picture">
            <a:extLst>
              <a:ext uri="{FF2B5EF4-FFF2-40B4-BE49-F238E27FC236}">
                <a16:creationId xmlns:a16="http://schemas.microsoft.com/office/drawing/2014/main" id="{5D8ABF7D-8929-AFE8-CFA4-B2DA0CEDC21B}"/>
              </a:ext>
            </a:extLst>
          </p:cNvPr>
          <p:cNvPicPr>
            <a:picLocks noGrp="1" noChangeAspect="1" noChangeArrowheads="1"/>
          </p:cNvPicPr>
          <p:nvPr>
            <p:ph sz="half" idx="17"/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28244" y="2342150"/>
            <a:ext cx="5160451" cy="3210573"/>
          </a:xfrm>
          <a:prstGeom prst="rect">
            <a:avLst/>
          </a:prstGeom>
          <a:noFill/>
          <a:ln w="9525" cap="flat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027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2">
            <a:extLst>
              <a:ext uri="{FF2B5EF4-FFF2-40B4-BE49-F238E27FC236}">
                <a16:creationId xmlns:a16="http://schemas.microsoft.com/office/drawing/2014/main" id="{A21711E8-86F1-D3B2-3F73-19CCAB5ED3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1987" y="2805324"/>
            <a:ext cx="5849259" cy="1247353"/>
          </a:xfrm>
        </p:spPr>
        <p:txBody>
          <a:bodyPr/>
          <a:lstStyle/>
          <a:p>
            <a:r>
              <a:rPr lang="en-US" sz="3733" dirty="0"/>
              <a:t>The babies themselves are not the only challenge. . 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E3753F-05D6-ED58-CD3C-5D8106B8838A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36785"/>
            <a:ext cx="1134533" cy="224367"/>
          </a:xfrm>
        </p:spPr>
        <p:txBody>
          <a:bodyPr/>
          <a:lstStyle/>
          <a:p>
            <a:pPr defTabSz="609585"/>
            <a:fld id="{4221F580-C0C7-FE4A-BB06-8E6F259722CB}" type="datetime1">
              <a:rPr lang="en-US">
                <a:solidFill>
                  <a:srgbClr val="54585A"/>
                </a:solidFill>
                <a:latin typeface="Calibri"/>
              </a:rPr>
              <a:pPr defTabSz="609585"/>
              <a:t>6/1/2026</a:t>
            </a:fld>
            <a:endParaRPr lang="en-US" dirty="0">
              <a:solidFill>
                <a:srgbClr val="54585A"/>
              </a:solidFill>
              <a:latin typeface="Calibr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67CA6E-2A82-DEF3-2AAD-00DA6D9060F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283200" y="6373285"/>
            <a:ext cx="6908800" cy="309033"/>
          </a:xfrm>
        </p:spPr>
        <p:txBody>
          <a:bodyPr/>
          <a:lstStyle/>
          <a:p>
            <a:pPr defTabSz="609585"/>
            <a:r>
              <a:rPr lang="en-US">
                <a:solidFill>
                  <a:srgbClr val="605F62"/>
                </a:solidFill>
                <a:latin typeface="Calibri"/>
              </a:rPr>
              <a:t>Presentation or Section Title</a:t>
            </a:r>
            <a:endParaRPr lang="en-US" dirty="0">
              <a:solidFill>
                <a:srgbClr val="605F62"/>
              </a:solidFill>
              <a:latin typeface="Calibri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6A39C6-A29A-22ED-D3A2-9E362596BE4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30568" y="6373285"/>
            <a:ext cx="461433" cy="309033"/>
          </a:xfrm>
        </p:spPr>
        <p:txBody>
          <a:bodyPr/>
          <a:lstStyle/>
          <a:p>
            <a:pPr defTabSz="609585"/>
            <a:fld id="{0D558541-60C9-42A2-8392-FF12533A6B7A}" type="slidenum">
              <a:rPr lang="en-US">
                <a:solidFill>
                  <a:srgbClr val="B0A2C5"/>
                </a:solidFill>
                <a:latin typeface="Calibri"/>
              </a:rPr>
              <a:pPr defTabSz="609585"/>
              <a:t>26</a:t>
            </a:fld>
            <a:endParaRPr lang="en-US" dirty="0">
              <a:solidFill>
                <a:srgbClr val="B0A2C5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467693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23095A-B974-0B80-5EA4-6D0EB8ACA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born Tasks Just Keep Getting Added</a:t>
            </a:r>
          </a:p>
        </p:txBody>
      </p:sp>
      <p:pic>
        <p:nvPicPr>
          <p:cNvPr id="9" name="Content Placeholder 8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827CAF5-3BA3-0F59-1465-B58988AEAE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84413" y="1185881"/>
            <a:ext cx="7823175" cy="4987275"/>
          </a:xfrm>
          <a:solidFill>
            <a:schemeClr val="bg1"/>
          </a:solidFill>
          <a:ln w="12700">
            <a:solidFill>
              <a:schemeClr val="tx1"/>
            </a:solidFill>
          </a:ln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9DD2DB-CF60-D0F1-6F93-F70C30151C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09585"/>
            <a:fld id="{0D558541-60C9-42A2-8392-FF12533A6B7A}" type="slidenum">
              <a:rPr lang="en-US">
                <a:solidFill>
                  <a:srgbClr val="B0A2C5"/>
                </a:solidFill>
                <a:latin typeface="Calibri"/>
              </a:rPr>
              <a:pPr defTabSz="609585"/>
              <a:t>27</a:t>
            </a:fld>
            <a:endParaRPr lang="en-US" dirty="0">
              <a:solidFill>
                <a:srgbClr val="B0A2C5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583827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>
            <a:extLst>
              <a:ext uri="{FF2B5EF4-FFF2-40B4-BE49-F238E27FC236}">
                <a16:creationId xmlns:a16="http://schemas.microsoft.com/office/drawing/2014/main" id="{844BB784-C3A3-F2B0-0773-5DC7E2F16B6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More Criteria for Late Preterm Infants</a:t>
            </a:r>
          </a:p>
        </p:txBody>
      </p:sp>
      <p:sp>
        <p:nvSpPr>
          <p:cNvPr id="23555" name="Rectangle 3">
            <a:extLst>
              <a:ext uri="{FF2B5EF4-FFF2-40B4-BE49-F238E27FC236}">
                <a16:creationId xmlns:a16="http://schemas.microsoft.com/office/drawing/2014/main" id="{F9AD5349-3F31-44B4-537F-2AA54241326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85011" y="1408874"/>
            <a:ext cx="11421979" cy="351398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2667" dirty="0"/>
              <a:t>Timing of discharge is individualized: feeding competency, thermoregulation, and absence of medical illness and social risk factors. </a:t>
            </a:r>
          </a:p>
          <a:p>
            <a:pPr>
              <a:lnSpc>
                <a:spcPct val="80000"/>
              </a:lnSpc>
            </a:pPr>
            <a:r>
              <a:rPr lang="en-US" altLang="en-US" sz="2667" dirty="0"/>
              <a:t>Late-preterm infants typically need to stay 48 hours</a:t>
            </a:r>
          </a:p>
          <a:p>
            <a:pPr>
              <a:lnSpc>
                <a:spcPct val="80000"/>
              </a:lnSpc>
            </a:pPr>
            <a:r>
              <a:rPr lang="en-US" altLang="en-US" sz="2667" dirty="0"/>
              <a:t>Follow-up visits should be 24-48 hours port discharge. </a:t>
            </a:r>
          </a:p>
          <a:p>
            <a:pPr>
              <a:lnSpc>
                <a:spcPct val="80000"/>
              </a:lnSpc>
            </a:pPr>
            <a:r>
              <a:rPr lang="en-US" altLang="en-US" sz="2667" dirty="0"/>
              <a:t>Vital signs should be documented as being within reference ranges and stable for the 12 hours preceding discharge, includes thermoregulating in an open bed</a:t>
            </a:r>
          </a:p>
          <a:p>
            <a:pPr>
              <a:lnSpc>
                <a:spcPct val="80000"/>
              </a:lnSpc>
            </a:pPr>
            <a:r>
              <a:rPr lang="en-US" altLang="en-US" sz="2667" dirty="0"/>
              <a:t>Twenty-four hours of successful feeding, either at the breast or with a bottle, and the ability to coordinate sucking, swallowing, and breathing while feeding has been demonstrated. </a:t>
            </a:r>
          </a:p>
          <a:p>
            <a:pPr>
              <a:lnSpc>
                <a:spcPct val="80000"/>
              </a:lnSpc>
            </a:pPr>
            <a:r>
              <a:rPr lang="en-US" altLang="en-US" sz="2667" dirty="0"/>
              <a:t>Weight loss should be appropriate</a:t>
            </a:r>
          </a:p>
          <a:p>
            <a:pPr>
              <a:lnSpc>
                <a:spcPct val="80000"/>
              </a:lnSpc>
            </a:pPr>
            <a:r>
              <a:rPr lang="en-US" altLang="en-US" sz="2667" dirty="0"/>
              <a:t>All normal screens and vaccinations completed</a:t>
            </a:r>
          </a:p>
          <a:p>
            <a:pPr>
              <a:lnSpc>
                <a:spcPct val="80000"/>
              </a:lnSpc>
            </a:pPr>
            <a:r>
              <a:rPr lang="en-US" altLang="en-US" sz="2667" dirty="0"/>
              <a:t>Car seat challenge especially important for babies in the newborn nursery</a:t>
            </a:r>
          </a:p>
        </p:txBody>
      </p:sp>
      <p:sp>
        <p:nvSpPr>
          <p:cNvPr id="23556" name="Text Box 4">
            <a:extLst>
              <a:ext uri="{FF2B5EF4-FFF2-40B4-BE49-F238E27FC236}">
                <a16:creationId xmlns:a16="http://schemas.microsoft.com/office/drawing/2014/main" id="{E5413748-4F9C-084C-741A-E1075334C8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0473" y="6289607"/>
            <a:ext cx="22955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609585"/>
            <a:r>
              <a:rPr lang="en-US" altLang="en-US" dirty="0">
                <a:solidFill>
                  <a:srgbClr val="54585A"/>
                </a:solidFill>
                <a:latin typeface="Calibri"/>
              </a:rPr>
              <a:t>Engle, Pediatrics, 2007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>
            <a:extLst>
              <a:ext uri="{FF2B5EF4-FFF2-40B4-BE49-F238E27FC236}">
                <a16:creationId xmlns:a16="http://schemas.microsoft.com/office/drawing/2014/main" id="{C49CC87A-5CF8-7CE3-F365-36D257F6EB0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Caregiver Education Needs to be Comprehensive</a:t>
            </a:r>
          </a:p>
        </p:txBody>
      </p:sp>
      <p:sp>
        <p:nvSpPr>
          <p:cNvPr id="35843" name="Rectangle 3">
            <a:extLst>
              <a:ext uri="{FF2B5EF4-FFF2-40B4-BE49-F238E27FC236}">
                <a16:creationId xmlns:a16="http://schemas.microsoft.com/office/drawing/2014/main" id="{A878609F-D693-8A14-648B-717B3FF5904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138989" y="1411706"/>
            <a:ext cx="9875059" cy="4748463"/>
          </a:xfrm>
        </p:spPr>
        <p:txBody>
          <a:bodyPr/>
          <a:lstStyle/>
          <a:p>
            <a:pPr lvl="1"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667" dirty="0"/>
              <a:t>Expected pattern of feeding and elimination and when to worry</a:t>
            </a:r>
          </a:p>
          <a:p>
            <a:pPr lvl="1"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667" dirty="0"/>
              <a:t>Umbilical cord, skin, and newborn genital care</a:t>
            </a:r>
          </a:p>
          <a:p>
            <a:pPr lvl="1"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667" dirty="0"/>
              <a:t>Hand hygiene, thermometer use</a:t>
            </a:r>
          </a:p>
          <a:p>
            <a:pPr lvl="1"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667" dirty="0"/>
              <a:t>Appropriate bundling, avoiding cold stress</a:t>
            </a:r>
          </a:p>
          <a:p>
            <a:pPr lvl="1"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667" dirty="0"/>
              <a:t>Identifying illness: poor feeding, jaundice, distress</a:t>
            </a:r>
          </a:p>
          <a:p>
            <a:pPr lvl="1"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667" dirty="0"/>
              <a:t>Safe sleep</a:t>
            </a:r>
          </a:p>
          <a:p>
            <a:pPr lvl="1"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667" dirty="0"/>
              <a:t>Car seat safety</a:t>
            </a:r>
          </a:p>
          <a:p>
            <a:pPr lvl="1"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667" dirty="0"/>
              <a:t>Hazards of secondhand tobacco smoke and environmental pollutants</a:t>
            </a:r>
          </a:p>
          <a:p>
            <a:pPr lvl="1"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667" dirty="0"/>
              <a:t>What to do if an emergency</a:t>
            </a:r>
          </a:p>
          <a:p>
            <a:pPr lvl="1"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667" dirty="0"/>
              <a:t>Sibling interactions and appropriate behavior inclusion</a:t>
            </a:r>
          </a:p>
          <a:p>
            <a:pPr>
              <a:lnSpc>
                <a:spcPct val="80000"/>
              </a:lnSpc>
            </a:pPr>
            <a:endParaRPr lang="en-US" altLang="en-US" sz="1800" dirty="0"/>
          </a:p>
          <a:p>
            <a:pPr>
              <a:lnSpc>
                <a:spcPct val="80000"/>
              </a:lnSpc>
            </a:pPr>
            <a:endParaRPr lang="en-US" altLang="en-US" sz="1500" dirty="0"/>
          </a:p>
          <a:p>
            <a:pPr>
              <a:lnSpc>
                <a:spcPct val="80000"/>
              </a:lnSpc>
            </a:pPr>
            <a:endParaRPr lang="en-US" altLang="en-US" sz="1500" dirty="0"/>
          </a:p>
          <a:p>
            <a:pPr>
              <a:lnSpc>
                <a:spcPct val="80000"/>
              </a:lnSpc>
            </a:pPr>
            <a:endParaRPr lang="en-US" altLang="en-US" sz="1500" dirty="0"/>
          </a:p>
          <a:p>
            <a:pPr>
              <a:lnSpc>
                <a:spcPct val="80000"/>
              </a:lnSpc>
            </a:pPr>
            <a:endParaRPr lang="en-US" altLang="en-US" sz="1500" dirty="0"/>
          </a:p>
          <a:p>
            <a:pPr>
              <a:lnSpc>
                <a:spcPct val="80000"/>
              </a:lnSpc>
            </a:pPr>
            <a:endParaRPr lang="en-US" altLang="en-US" sz="800" dirty="0"/>
          </a:p>
        </p:txBody>
      </p:sp>
      <p:sp>
        <p:nvSpPr>
          <p:cNvPr id="35844" name="Text Box 4">
            <a:extLst>
              <a:ext uri="{FF2B5EF4-FFF2-40B4-BE49-F238E27FC236}">
                <a16:creationId xmlns:a16="http://schemas.microsoft.com/office/drawing/2014/main" id="{D7715498-53C3-2758-5C0D-B8F57497F2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08949" y="6338888"/>
            <a:ext cx="22955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609585"/>
            <a:r>
              <a:rPr lang="en-US" altLang="en-US">
                <a:solidFill>
                  <a:srgbClr val="54585A"/>
                </a:solidFill>
                <a:latin typeface="Calibri"/>
              </a:rPr>
              <a:t>Engle, Pediatrics, 2007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11FA16C-2082-7BA8-B8F6-5E86F8346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1608431"/>
            <a:ext cx="9365380" cy="1107996"/>
          </a:xfrm>
        </p:spPr>
        <p:txBody>
          <a:bodyPr/>
          <a:lstStyle/>
          <a:p>
            <a:r>
              <a:rPr lang="en-US" sz="7200" dirty="0">
                <a:solidFill>
                  <a:schemeClr val="bg1"/>
                </a:solidFill>
              </a:rPr>
              <a:t>IL-LPI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8EEFBC94-4876-17EE-049E-7AA5BBF2A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09" y="3081639"/>
            <a:ext cx="9759515" cy="615553"/>
          </a:xfrm>
        </p:spPr>
        <p:txBody>
          <a:bodyPr/>
          <a:lstStyle/>
          <a:p>
            <a:r>
              <a:rPr lang="en-US" sz="4000" dirty="0">
                <a:solidFill>
                  <a:schemeClr val="bg1"/>
                </a:solidFill>
                <a:latin typeface="DM Sans"/>
                <a:ea typeface="DM Sans"/>
                <a:cs typeface="DM Sans"/>
                <a:sym typeface="DM Sans"/>
              </a:rPr>
              <a:t>The </a:t>
            </a:r>
            <a:r>
              <a:rPr lang="en-US" sz="4000" u="sng" dirty="0">
                <a:solidFill>
                  <a:schemeClr val="bg1"/>
                </a:solidFill>
                <a:latin typeface="DM Sans"/>
                <a:ea typeface="DM Sans"/>
                <a:cs typeface="DM Sans"/>
                <a:sym typeface="DM Sans"/>
              </a:rPr>
              <a:t>I</a:t>
            </a:r>
            <a:r>
              <a:rPr lang="en-US" sz="4000" dirty="0">
                <a:solidFill>
                  <a:schemeClr val="bg1"/>
                </a:solidFill>
                <a:latin typeface="DM Sans"/>
                <a:ea typeface="DM Sans"/>
                <a:cs typeface="DM Sans"/>
                <a:sym typeface="DM Sans"/>
              </a:rPr>
              <a:t>llinois </a:t>
            </a:r>
            <a:r>
              <a:rPr lang="en-US" sz="4000" u="sng" dirty="0">
                <a:solidFill>
                  <a:schemeClr val="bg1"/>
                </a:solidFill>
                <a:latin typeface="DM Sans"/>
                <a:ea typeface="DM Sans"/>
                <a:cs typeface="DM Sans"/>
                <a:sym typeface="DM Sans"/>
              </a:rPr>
              <a:t>L</a:t>
            </a:r>
            <a:r>
              <a:rPr lang="en-US" sz="4000" dirty="0">
                <a:solidFill>
                  <a:schemeClr val="bg1"/>
                </a:solidFill>
                <a:latin typeface="DM Sans"/>
                <a:ea typeface="DM Sans"/>
                <a:cs typeface="DM Sans"/>
                <a:sym typeface="DM Sans"/>
              </a:rPr>
              <a:t>ate </a:t>
            </a:r>
            <a:r>
              <a:rPr lang="en-US" sz="4000" u="sng" dirty="0">
                <a:solidFill>
                  <a:schemeClr val="bg1"/>
                </a:solidFill>
                <a:latin typeface="DM Sans"/>
                <a:ea typeface="DM Sans"/>
                <a:cs typeface="DM Sans"/>
                <a:sym typeface="DM Sans"/>
              </a:rPr>
              <a:t>P</a:t>
            </a:r>
            <a:r>
              <a:rPr lang="en-US" sz="4000" dirty="0">
                <a:solidFill>
                  <a:schemeClr val="bg1"/>
                </a:solidFill>
                <a:latin typeface="DM Sans"/>
                <a:ea typeface="DM Sans"/>
                <a:cs typeface="DM Sans"/>
                <a:sym typeface="DM Sans"/>
              </a:rPr>
              <a:t>reterm </a:t>
            </a:r>
            <a:r>
              <a:rPr lang="en-US" sz="4000" u="sng" dirty="0">
                <a:solidFill>
                  <a:schemeClr val="bg1"/>
                </a:solidFill>
                <a:latin typeface="DM Sans"/>
                <a:ea typeface="DM Sans"/>
                <a:cs typeface="DM Sans"/>
                <a:sym typeface="DM Sans"/>
              </a:rPr>
              <a:t>I</a:t>
            </a:r>
            <a:r>
              <a:rPr lang="en-US" sz="4000" dirty="0">
                <a:solidFill>
                  <a:schemeClr val="bg1"/>
                </a:solidFill>
                <a:latin typeface="DM Sans"/>
                <a:ea typeface="DM Sans"/>
                <a:cs typeface="DM Sans"/>
                <a:sym typeface="DM Sans"/>
              </a:rPr>
              <a:t>nfant Initiative</a:t>
            </a:r>
            <a:endParaRPr lang="en-US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86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BEFA1E-3D67-E94C-8160-FC876EC9D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ngth of Stay Has Decreased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6DB8854E-DC1F-D21B-4A26-E47FB87AA34E}"/>
              </a:ext>
            </a:extLst>
          </p:cNvPr>
          <p:cNvPicPr>
            <a:picLocks noGrp="1"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>
            <p:ph idx="1"/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9B8104-1F7F-CA61-D7E8-F42082E68A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8772B1-32DE-D9CC-DA6E-3DDA94DCB0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09585"/>
            <a:fld id="{0D558541-60C9-42A2-8392-FF12533A6B7A}" type="slidenum">
              <a:rPr lang="en-US">
                <a:solidFill>
                  <a:srgbClr val="B0A2C5"/>
                </a:solidFill>
                <a:latin typeface="Calibri"/>
              </a:rPr>
              <a:pPr defTabSz="609585"/>
              <a:t>30</a:t>
            </a:fld>
            <a:endParaRPr lang="en-US" dirty="0">
              <a:solidFill>
                <a:srgbClr val="B0A2C5"/>
              </a:solidFill>
              <a:latin typeface="Calibri"/>
            </a:endParaRPr>
          </a:p>
        </p:txBody>
      </p:sp>
      <p:pic>
        <p:nvPicPr>
          <p:cNvPr id="10" name="Picture 9" descr="A graph showing the number of delivery methods&#10;&#10;AI-generated content may be incorrect.">
            <a:extLst>
              <a:ext uri="{FF2B5EF4-FFF2-40B4-BE49-F238E27FC236}">
                <a16:creationId xmlns:a16="http://schemas.microsoft.com/office/drawing/2014/main" id="{C71F421F-38DC-9B90-DC40-04E0861F97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434" y="1137783"/>
            <a:ext cx="10153965" cy="485052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0695654-ABC4-96C4-21F2-76A918B583F5}"/>
              </a:ext>
            </a:extLst>
          </p:cNvPr>
          <p:cNvSpPr txBox="1"/>
          <p:nvPr/>
        </p:nvSpPr>
        <p:spPr>
          <a:xfrm>
            <a:off x="6260615" y="6254988"/>
            <a:ext cx="527611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1333" dirty="0">
                <a:solidFill>
                  <a:srgbClr val="61468B"/>
                </a:solidFill>
                <a:latin typeface="Calibri"/>
              </a:rPr>
              <a:t>https://</a:t>
            </a:r>
            <a:r>
              <a:rPr lang="en-US" sz="1333" dirty="0" err="1">
                <a:solidFill>
                  <a:srgbClr val="61468B"/>
                </a:solidFill>
                <a:latin typeface="Calibri"/>
              </a:rPr>
              <a:t>www.cdc.gov</a:t>
            </a:r>
            <a:r>
              <a:rPr lang="en-US" sz="1333" dirty="0">
                <a:solidFill>
                  <a:srgbClr val="61468B"/>
                </a:solidFill>
                <a:latin typeface="Calibri"/>
              </a:rPr>
              <a:t>/</a:t>
            </a:r>
            <a:r>
              <a:rPr lang="en-US" sz="1333" dirty="0" err="1">
                <a:solidFill>
                  <a:srgbClr val="61468B"/>
                </a:solidFill>
                <a:latin typeface="Calibri"/>
              </a:rPr>
              <a:t>mmwr</a:t>
            </a:r>
            <a:r>
              <a:rPr lang="en-US" sz="1333" dirty="0">
                <a:solidFill>
                  <a:srgbClr val="61468B"/>
                </a:solidFill>
                <a:latin typeface="Calibri"/>
              </a:rPr>
              <a:t>/preview/</a:t>
            </a:r>
            <a:r>
              <a:rPr lang="en-US" sz="1333" dirty="0" err="1">
                <a:solidFill>
                  <a:srgbClr val="61468B"/>
                </a:solidFill>
                <a:latin typeface="Calibri"/>
              </a:rPr>
              <a:t>mmwrhtml</a:t>
            </a:r>
            <a:r>
              <a:rPr lang="en-US" sz="1333" dirty="0">
                <a:solidFill>
                  <a:srgbClr val="61468B"/>
                </a:solidFill>
                <a:latin typeface="Calibri"/>
              </a:rPr>
              <a:t>/00036988.htm</a:t>
            </a:r>
          </a:p>
        </p:txBody>
      </p:sp>
    </p:spTree>
    <p:extLst>
      <p:ext uri="{BB962C8B-B14F-4D97-AF65-F5344CB8AC3E}">
        <p14:creationId xmlns:p14="http://schemas.microsoft.com/office/powerpoint/2010/main" val="391650378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>
                <a16:creationId xmlns:a16="http://schemas.microsoft.com/office/drawing/2014/main" id="{4B1D44AC-5D63-8969-3DFF-192B4E63AFD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Late Premature Infants Have Problems</a:t>
            </a:r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34EFB933-EBFC-5E6F-9254-FEFF62E45E0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2038082" y="1689006"/>
            <a:ext cx="2553868" cy="917377"/>
          </a:xfrm>
        </p:spPr>
        <p:txBody>
          <a:bodyPr/>
          <a:lstStyle/>
          <a:p>
            <a:pPr marL="232828" lvl="1" indent="0">
              <a:lnSpc>
                <a:spcPct val="90000"/>
              </a:lnSpc>
              <a:buNone/>
            </a:pPr>
            <a:r>
              <a:rPr lang="en-US" altLang="en-US" sz="3200" dirty="0"/>
              <a:t>Respiratory </a:t>
            </a:r>
          </a:p>
          <a:p>
            <a:pPr marL="232828" lvl="1" indent="0">
              <a:lnSpc>
                <a:spcPct val="90000"/>
              </a:lnSpc>
              <a:buNone/>
            </a:pPr>
            <a:r>
              <a:rPr lang="en-US" altLang="en-US" sz="3200" dirty="0"/>
              <a:t>Distres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D556C8D-F7EB-5233-669E-8708C578FEA2}"/>
              </a:ext>
            </a:extLst>
          </p:cNvPr>
          <p:cNvSpPr txBox="1"/>
          <p:nvPr/>
        </p:nvSpPr>
        <p:spPr>
          <a:xfrm>
            <a:off x="2243447" y="3083143"/>
            <a:ext cx="3689684" cy="1939313"/>
          </a:xfrm>
          <a:prstGeom prst="rect">
            <a:avLst/>
          </a:prstGeom>
          <a:noFill/>
          <a:ln w="114300"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pPr marL="609585" lvl="1" defTabSz="609585">
              <a:lnSpc>
                <a:spcPct val="90000"/>
              </a:lnSpc>
            </a:pPr>
            <a:r>
              <a:rPr lang="en-US" altLang="en-US" sz="2667" dirty="0">
                <a:solidFill>
                  <a:srgbClr val="54585A"/>
                </a:solidFill>
                <a:latin typeface="Calibri"/>
              </a:rPr>
              <a:t>Hypothermia </a:t>
            </a:r>
          </a:p>
          <a:p>
            <a:pPr marL="609585" lvl="1" defTabSz="609585">
              <a:lnSpc>
                <a:spcPct val="90000"/>
              </a:lnSpc>
            </a:pPr>
            <a:r>
              <a:rPr lang="en-US" altLang="en-US" sz="2667" dirty="0">
                <a:solidFill>
                  <a:srgbClr val="54585A"/>
                </a:solidFill>
                <a:latin typeface="Calibri"/>
              </a:rPr>
              <a:t>Hypoglycemia</a:t>
            </a:r>
          </a:p>
          <a:p>
            <a:pPr marL="609585" lvl="1" defTabSz="609585">
              <a:lnSpc>
                <a:spcPct val="90000"/>
              </a:lnSpc>
            </a:pPr>
            <a:r>
              <a:rPr lang="en-US" altLang="en-US" sz="2667" dirty="0">
                <a:solidFill>
                  <a:srgbClr val="54585A"/>
                </a:solidFill>
                <a:latin typeface="Calibri"/>
              </a:rPr>
              <a:t>Jaundice</a:t>
            </a:r>
          </a:p>
          <a:p>
            <a:pPr marL="609585" lvl="1" defTabSz="609585">
              <a:lnSpc>
                <a:spcPct val="90000"/>
              </a:lnSpc>
            </a:pPr>
            <a:r>
              <a:rPr lang="en-US" altLang="en-US" sz="2667" dirty="0">
                <a:solidFill>
                  <a:srgbClr val="54585A"/>
                </a:solidFill>
                <a:latin typeface="Calibri"/>
              </a:rPr>
              <a:t>Apnea</a:t>
            </a:r>
          </a:p>
          <a:p>
            <a:pPr marL="609585" lvl="1" defTabSz="609585">
              <a:lnSpc>
                <a:spcPct val="90000"/>
              </a:lnSpc>
            </a:pPr>
            <a:r>
              <a:rPr lang="en-US" altLang="en-US" sz="2667" dirty="0">
                <a:solidFill>
                  <a:srgbClr val="54585A"/>
                </a:solidFill>
                <a:latin typeface="Calibri"/>
              </a:rPr>
              <a:t>Feeding problem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F9B51B-3EC9-397E-3F30-4F0D0E4B5825}"/>
              </a:ext>
            </a:extLst>
          </p:cNvPr>
          <p:cNvSpPr txBox="1"/>
          <p:nvPr/>
        </p:nvSpPr>
        <p:spPr>
          <a:xfrm>
            <a:off x="6278023" y="1340681"/>
            <a:ext cx="4138863" cy="10772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3200" dirty="0">
                <a:solidFill>
                  <a:srgbClr val="54585A"/>
                </a:solidFill>
                <a:latin typeface="Calibri"/>
              </a:rPr>
              <a:t>NICU </a:t>
            </a:r>
          </a:p>
          <a:p>
            <a:pPr algn="ctr" defTabSz="609585"/>
            <a:r>
              <a:rPr lang="en-US" sz="3200" dirty="0">
                <a:solidFill>
                  <a:srgbClr val="54585A"/>
                </a:solidFill>
                <a:latin typeface="Calibri"/>
              </a:rPr>
              <a:t>Continuous monitoring </a:t>
            </a:r>
          </a:p>
        </p:txBody>
      </p:sp>
      <p:sp>
        <p:nvSpPr>
          <p:cNvPr id="5" name="Bent-Up Arrow 4">
            <a:extLst>
              <a:ext uri="{FF2B5EF4-FFF2-40B4-BE49-F238E27FC236}">
                <a16:creationId xmlns:a16="http://schemas.microsoft.com/office/drawing/2014/main" id="{4AB0A591-464D-9471-E3F6-6985A93DBF97}"/>
              </a:ext>
            </a:extLst>
          </p:cNvPr>
          <p:cNvSpPr/>
          <p:nvPr/>
        </p:nvSpPr>
        <p:spPr>
          <a:xfrm rot="16200000" flipH="1" flipV="1">
            <a:off x="603190" y="3733741"/>
            <a:ext cx="3004500" cy="1894528"/>
          </a:xfrm>
          <a:prstGeom prst="bent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85"/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8" name="Graphic 7" descr="Man changing baby with solid fill">
            <a:extLst>
              <a:ext uri="{FF2B5EF4-FFF2-40B4-BE49-F238E27FC236}">
                <a16:creationId xmlns:a16="http://schemas.microsoft.com/office/drawing/2014/main" id="{1320487D-094E-11F1-B888-15E182BB5EC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085" y="1507665"/>
            <a:ext cx="1459832" cy="1459832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1E3447B3-5819-6220-1841-7760CE0CF1E0}"/>
              </a:ext>
            </a:extLst>
          </p:cNvPr>
          <p:cNvGrpSpPr/>
          <p:nvPr/>
        </p:nvGrpSpPr>
        <p:grpSpPr>
          <a:xfrm>
            <a:off x="4492992" y="1827273"/>
            <a:ext cx="1295881" cy="614248"/>
            <a:chOff x="4345675" y="1692951"/>
            <a:chExt cx="971911" cy="460686"/>
          </a:xfrm>
        </p:grpSpPr>
        <p:sp>
          <p:nvSpPr>
            <p:cNvPr id="2" name="Right Arrow 1">
              <a:extLst>
                <a:ext uri="{FF2B5EF4-FFF2-40B4-BE49-F238E27FC236}">
                  <a16:creationId xmlns:a16="http://schemas.microsoft.com/office/drawing/2014/main" id="{478E0AE6-4CFA-5F68-50BE-1998230CE3F2}"/>
                </a:ext>
              </a:extLst>
            </p:cNvPr>
            <p:cNvSpPr/>
            <p:nvPr/>
          </p:nvSpPr>
          <p:spPr>
            <a:xfrm>
              <a:off x="4345675" y="1692951"/>
              <a:ext cx="971911" cy="460686"/>
            </a:xfrm>
            <a:prstGeom prst="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45E4D6B-6BBD-68A5-05A7-E50D81C60B5B}"/>
                </a:ext>
              </a:extLst>
            </p:cNvPr>
            <p:cNvSpPr txBox="1"/>
            <p:nvPr/>
          </p:nvSpPr>
          <p:spPr>
            <a:xfrm>
              <a:off x="4399378" y="1722801"/>
              <a:ext cx="728056" cy="346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85"/>
              <a:r>
                <a:rPr lang="en-US" sz="2400" dirty="0">
                  <a:solidFill>
                    <a:prstClr val="white"/>
                  </a:solidFill>
                  <a:latin typeface="Calibri"/>
                </a:rPr>
                <a:t>Yes</a:t>
              </a:r>
            </a:p>
          </p:txBody>
        </p:sp>
      </p:grpSp>
      <p:pic>
        <p:nvPicPr>
          <p:cNvPr id="13" name="Graphic 12" descr="Eyes with solid fill">
            <a:extLst>
              <a:ext uri="{FF2B5EF4-FFF2-40B4-BE49-F238E27FC236}">
                <a16:creationId xmlns:a16="http://schemas.microsoft.com/office/drawing/2014/main" id="{EE9EEACF-7FBC-20D2-F08A-5D8A2FF4966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39184" y="1018381"/>
            <a:ext cx="1219200" cy="1219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4DA69E-F88E-734C-50B4-8CAAA65199AE}"/>
              </a:ext>
            </a:extLst>
          </p:cNvPr>
          <p:cNvSpPr txBox="1"/>
          <p:nvPr/>
        </p:nvSpPr>
        <p:spPr>
          <a:xfrm>
            <a:off x="3514781" y="5168995"/>
            <a:ext cx="4022523" cy="156966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09585"/>
            <a:endParaRPr lang="en-US" sz="3200" dirty="0">
              <a:solidFill>
                <a:srgbClr val="54585A"/>
              </a:solidFill>
              <a:latin typeface="Calibri"/>
            </a:endParaRPr>
          </a:p>
          <a:p>
            <a:pPr algn="ctr" defTabSz="609585"/>
            <a:r>
              <a:rPr lang="en-US" sz="3200" dirty="0">
                <a:solidFill>
                  <a:srgbClr val="54585A"/>
                </a:solidFill>
                <a:latin typeface="Calibri"/>
              </a:rPr>
              <a:t>Newborn Nursery</a:t>
            </a:r>
          </a:p>
          <a:p>
            <a:pPr algn="ctr" defTabSz="609585"/>
            <a:r>
              <a:rPr lang="en-US" sz="3200" dirty="0">
                <a:solidFill>
                  <a:srgbClr val="54585A"/>
                </a:solidFill>
                <a:latin typeface="Calibri"/>
              </a:rPr>
              <a:t>VS q4-8  </a:t>
            </a:r>
          </a:p>
        </p:txBody>
      </p:sp>
      <p:pic>
        <p:nvPicPr>
          <p:cNvPr id="16" name="Graphic 15" descr="Lashes with solid fill">
            <a:extLst>
              <a:ext uri="{FF2B5EF4-FFF2-40B4-BE49-F238E27FC236}">
                <a16:creationId xmlns:a16="http://schemas.microsoft.com/office/drawing/2014/main" id="{A8712BC3-D8A5-9B0C-E93E-D0B863F4A52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34804" y="4964056"/>
            <a:ext cx="1514152" cy="12192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E3D0C43-63E8-FE30-2B1C-41CC67344C91}"/>
              </a:ext>
            </a:extLst>
          </p:cNvPr>
          <p:cNvSpPr txBox="1"/>
          <p:nvPr/>
        </p:nvSpPr>
        <p:spPr>
          <a:xfrm>
            <a:off x="1701931" y="5452951"/>
            <a:ext cx="672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2400" dirty="0">
                <a:solidFill>
                  <a:prstClr val="white"/>
                </a:solidFill>
                <a:latin typeface="Calibri"/>
              </a:rPr>
              <a:t>NO</a:t>
            </a:r>
          </a:p>
        </p:txBody>
      </p:sp>
      <p:pic>
        <p:nvPicPr>
          <p:cNvPr id="27" name="Graphic 26" descr="Work from home Wi-Fi with solid fill">
            <a:extLst>
              <a:ext uri="{FF2B5EF4-FFF2-40B4-BE49-F238E27FC236}">
                <a16:creationId xmlns:a16="http://schemas.microsoft.com/office/drawing/2014/main" id="{2785CCCB-09D3-A331-F332-A71BD37A824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19405" y="4939972"/>
            <a:ext cx="1773513" cy="1773513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A89D1489-DB3E-4749-CC2F-ED2CF524503C}"/>
              </a:ext>
            </a:extLst>
          </p:cNvPr>
          <p:cNvGrpSpPr/>
          <p:nvPr/>
        </p:nvGrpSpPr>
        <p:grpSpPr>
          <a:xfrm>
            <a:off x="7592614" y="5228270"/>
            <a:ext cx="1726791" cy="1434247"/>
            <a:chOff x="6496305" y="3605567"/>
            <a:chExt cx="914400" cy="1075685"/>
          </a:xfrm>
        </p:grpSpPr>
        <p:sp>
          <p:nvSpPr>
            <p:cNvPr id="25" name="Right Arrow 24">
              <a:extLst>
                <a:ext uri="{FF2B5EF4-FFF2-40B4-BE49-F238E27FC236}">
                  <a16:creationId xmlns:a16="http://schemas.microsoft.com/office/drawing/2014/main" id="{AA51B2D9-4CBF-AD4A-6789-DBF43277890C}"/>
                </a:ext>
              </a:extLst>
            </p:cNvPr>
            <p:cNvSpPr/>
            <p:nvPr/>
          </p:nvSpPr>
          <p:spPr>
            <a:xfrm>
              <a:off x="6496305" y="3605567"/>
              <a:ext cx="914400" cy="1075685"/>
            </a:xfrm>
            <a:prstGeom prst="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35" name="Graphic 34" descr="Question Mark with solid fill">
              <a:extLst>
                <a:ext uri="{FF2B5EF4-FFF2-40B4-BE49-F238E27FC236}">
                  <a16:creationId xmlns:a16="http://schemas.microsoft.com/office/drawing/2014/main" id="{508A7B7C-0149-E466-2070-15992E5D804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621581" y="3889663"/>
              <a:ext cx="503601" cy="503601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20372BB-F86A-D277-B75A-90443B2764C9}"/>
              </a:ext>
            </a:extLst>
          </p:cNvPr>
          <p:cNvGrpSpPr/>
          <p:nvPr/>
        </p:nvGrpSpPr>
        <p:grpSpPr>
          <a:xfrm>
            <a:off x="6096000" y="2482427"/>
            <a:ext cx="1922640" cy="2060199"/>
            <a:chOff x="5352507" y="2179014"/>
            <a:chExt cx="1185922" cy="1022903"/>
          </a:xfrm>
        </p:grpSpPr>
        <p:sp>
          <p:nvSpPr>
            <p:cNvPr id="24" name="Up Arrow 23">
              <a:extLst>
                <a:ext uri="{FF2B5EF4-FFF2-40B4-BE49-F238E27FC236}">
                  <a16:creationId xmlns:a16="http://schemas.microsoft.com/office/drawing/2014/main" id="{CD212A24-FE5C-5B43-6651-E9DEF4CC27E4}"/>
                </a:ext>
              </a:extLst>
            </p:cNvPr>
            <p:cNvSpPr/>
            <p:nvPr/>
          </p:nvSpPr>
          <p:spPr>
            <a:xfrm>
              <a:off x="5352507" y="2179014"/>
              <a:ext cx="1185922" cy="1022903"/>
            </a:xfrm>
            <a:prstGeom prst="up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37" name="Graphic 36" descr="Question Mark with solid fill">
              <a:extLst>
                <a:ext uri="{FF2B5EF4-FFF2-40B4-BE49-F238E27FC236}">
                  <a16:creationId xmlns:a16="http://schemas.microsoft.com/office/drawing/2014/main" id="{22B40356-B6BE-41E7-C75F-A9D4A52BA9D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649404" y="2477696"/>
              <a:ext cx="592128" cy="592128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B4FBEE8-7AFA-0EAA-2BBC-488D495A8700}"/>
              </a:ext>
            </a:extLst>
          </p:cNvPr>
          <p:cNvGrpSpPr/>
          <p:nvPr/>
        </p:nvGrpSpPr>
        <p:grpSpPr>
          <a:xfrm>
            <a:off x="9150411" y="2818956"/>
            <a:ext cx="1697645" cy="1797944"/>
            <a:chOff x="6196686" y="2371793"/>
            <a:chExt cx="1092363" cy="1051212"/>
          </a:xfrm>
        </p:grpSpPr>
        <p:sp>
          <p:nvSpPr>
            <p:cNvPr id="42" name="Up Arrow 41">
              <a:extLst>
                <a:ext uri="{FF2B5EF4-FFF2-40B4-BE49-F238E27FC236}">
                  <a16:creationId xmlns:a16="http://schemas.microsoft.com/office/drawing/2014/main" id="{36EF4DA9-58AB-DDB8-9E10-9BF78FBE1FF8}"/>
                </a:ext>
              </a:extLst>
            </p:cNvPr>
            <p:cNvSpPr/>
            <p:nvPr/>
          </p:nvSpPr>
          <p:spPr>
            <a:xfrm flipV="1">
              <a:off x="6196686" y="2371793"/>
              <a:ext cx="1092363" cy="1051212"/>
            </a:xfrm>
            <a:prstGeom prst="up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43" name="Graphic 42" descr="Question Mark with solid fill">
              <a:extLst>
                <a:ext uri="{FF2B5EF4-FFF2-40B4-BE49-F238E27FC236}">
                  <a16:creationId xmlns:a16="http://schemas.microsoft.com/office/drawing/2014/main" id="{E30E83AC-6316-EA5C-5091-0D92DAE09F8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46804" y="2506574"/>
              <a:ext cx="592128" cy="592128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07E56-0267-3B01-8A0B-CA25A2EA6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9444" y="72268"/>
            <a:ext cx="9546576" cy="1016000"/>
          </a:xfrm>
        </p:spPr>
        <p:txBody>
          <a:bodyPr/>
          <a:lstStyle/>
          <a:p>
            <a:r>
              <a:rPr lang="en-US" dirty="0"/>
              <a:t>This Population is at Risk!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3F652D-6026-A5A2-F726-FFB0C7CAC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585"/>
            <a:fld id="{60C17379-0C3D-B242-978C-C852EFE81C76}" type="slidenum">
              <a:rPr lang="en-US" altLang="en-US">
                <a:solidFill>
                  <a:srgbClr val="B0A2C5"/>
                </a:solidFill>
                <a:latin typeface="Calibri"/>
              </a:rPr>
              <a:pPr defTabSz="609585"/>
              <a:t>32</a:t>
            </a:fld>
            <a:endParaRPr lang="en-US" altLang="en-US">
              <a:solidFill>
                <a:srgbClr val="B0A2C5"/>
              </a:solidFill>
              <a:latin typeface="Calibri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A730149-4307-270C-4985-2B8EB32D3C1E}"/>
              </a:ext>
            </a:extLst>
          </p:cNvPr>
          <p:cNvGrpSpPr/>
          <p:nvPr/>
        </p:nvGrpSpPr>
        <p:grpSpPr>
          <a:xfrm>
            <a:off x="411531" y="1619265"/>
            <a:ext cx="4593608" cy="3250457"/>
            <a:chOff x="2690900" y="1398840"/>
            <a:chExt cx="3762199" cy="313283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1AD321A-C58B-A947-5049-F25610CF17AF}"/>
                </a:ext>
              </a:extLst>
            </p:cNvPr>
            <p:cNvGrpSpPr/>
            <p:nvPr/>
          </p:nvGrpSpPr>
          <p:grpSpPr>
            <a:xfrm>
              <a:off x="2690900" y="1574405"/>
              <a:ext cx="3762199" cy="2957274"/>
              <a:chOff x="2742641" y="1646476"/>
              <a:chExt cx="3762199" cy="2957274"/>
            </a:xfrm>
          </p:grpSpPr>
          <p:sp>
            <p:nvSpPr>
              <p:cNvPr id="21" name="Triangle 20">
                <a:extLst>
                  <a:ext uri="{FF2B5EF4-FFF2-40B4-BE49-F238E27FC236}">
                    <a16:creationId xmlns:a16="http://schemas.microsoft.com/office/drawing/2014/main" id="{0D3F9584-21C4-57C5-2DDD-F9D3458B572F}"/>
                  </a:ext>
                </a:extLst>
              </p:cNvPr>
              <p:cNvSpPr/>
              <p:nvPr/>
            </p:nvSpPr>
            <p:spPr>
              <a:xfrm>
                <a:off x="4267200" y="3994150"/>
                <a:ext cx="609600" cy="609600"/>
              </a:xfrm>
              <a:prstGeom prst="triangle">
                <a:avLst/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pPr defTabSz="609585"/>
                <a:endParaRPr lang="en-US" sz="2400">
                  <a:solidFill>
                    <a:srgbClr val="54585A">
                      <a:hueOff val="0"/>
                      <a:satOff val="0"/>
                      <a:lumOff val="0"/>
                      <a:alphaOff val="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4A4468A2-42E8-1243-EADE-F84061A66FC2}"/>
                  </a:ext>
                </a:extLst>
              </p:cNvPr>
              <p:cNvSpPr/>
              <p:nvPr/>
            </p:nvSpPr>
            <p:spPr>
              <a:xfrm rot="240000">
                <a:off x="2742641" y="3830487"/>
                <a:ext cx="3658717" cy="255842"/>
              </a:xfrm>
              <a:prstGeom prst="rect">
                <a:avLst/>
              </a:prstGeom>
            </p:spPr>
            <p:style>
              <a:lnRef idx="2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pPr defTabSz="609585"/>
                <a:endParaRPr lang="en-US" sz="2400">
                  <a:solidFill>
                    <a:srgbClr val="54585A">
                      <a:hueOff val="0"/>
                      <a:satOff val="0"/>
                      <a:lumOff val="0"/>
                      <a:alphaOff val="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409E138E-EBA2-D8EF-8EB6-C33CEE39DFF5}"/>
                  </a:ext>
                </a:extLst>
              </p:cNvPr>
              <p:cNvSpPr/>
              <p:nvPr/>
            </p:nvSpPr>
            <p:spPr>
              <a:xfrm rot="240000">
                <a:off x="4939383" y="3093260"/>
                <a:ext cx="1459793" cy="680114"/>
              </a:xfrm>
              <a:custGeom>
                <a:avLst/>
                <a:gdLst>
                  <a:gd name="csX0" fmla="*/ 0 w 1459793"/>
                  <a:gd name="csY0" fmla="*/ 113355 h 680114"/>
                  <a:gd name="csX1" fmla="*/ 113355 w 1459793"/>
                  <a:gd name="csY1" fmla="*/ 0 h 680114"/>
                  <a:gd name="csX2" fmla="*/ 1346438 w 1459793"/>
                  <a:gd name="csY2" fmla="*/ 0 h 680114"/>
                  <a:gd name="csX3" fmla="*/ 1459793 w 1459793"/>
                  <a:gd name="csY3" fmla="*/ 113355 h 680114"/>
                  <a:gd name="csX4" fmla="*/ 1459793 w 1459793"/>
                  <a:gd name="csY4" fmla="*/ 566759 h 680114"/>
                  <a:gd name="csX5" fmla="*/ 1346438 w 1459793"/>
                  <a:gd name="csY5" fmla="*/ 680114 h 680114"/>
                  <a:gd name="csX6" fmla="*/ 113355 w 1459793"/>
                  <a:gd name="csY6" fmla="*/ 680114 h 680114"/>
                  <a:gd name="csX7" fmla="*/ 0 w 1459793"/>
                  <a:gd name="csY7" fmla="*/ 566759 h 680114"/>
                  <a:gd name="csX8" fmla="*/ 0 w 1459793"/>
                  <a:gd name="csY8" fmla="*/ 113355 h 68011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459793" h="680114">
                    <a:moveTo>
                      <a:pt x="0" y="113355"/>
                    </a:moveTo>
                    <a:cubicBezTo>
                      <a:pt x="0" y="50751"/>
                      <a:pt x="50751" y="0"/>
                      <a:pt x="113355" y="0"/>
                    </a:cubicBezTo>
                    <a:lnTo>
                      <a:pt x="1346438" y="0"/>
                    </a:lnTo>
                    <a:cubicBezTo>
                      <a:pt x="1409042" y="0"/>
                      <a:pt x="1459793" y="50751"/>
                      <a:pt x="1459793" y="113355"/>
                    </a:cubicBezTo>
                    <a:lnTo>
                      <a:pt x="1459793" y="566759"/>
                    </a:lnTo>
                    <a:cubicBezTo>
                      <a:pt x="1459793" y="629363"/>
                      <a:pt x="1409042" y="680114"/>
                      <a:pt x="1346438" y="680114"/>
                    </a:cubicBezTo>
                    <a:lnTo>
                      <a:pt x="113355" y="680114"/>
                    </a:lnTo>
                    <a:cubicBezTo>
                      <a:pt x="50751" y="680114"/>
                      <a:pt x="0" y="629363"/>
                      <a:pt x="0" y="566759"/>
                    </a:cubicBezTo>
                    <a:lnTo>
                      <a:pt x="0" y="113355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86505" tIns="186505" rIns="186507" bIns="186507" numCol="1" spcCol="1270" anchor="ctr" anchorCtr="0">
                <a:noAutofit/>
              </a:bodyPr>
              <a:lstStyle/>
              <a:p>
                <a:pPr algn="ctr" defTabSz="16594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>
                    <a:solidFill>
                      <a:prstClr val="white"/>
                    </a:solidFill>
                    <a:latin typeface="Calibri"/>
                  </a:rPr>
                  <a:t>Dispo/ F/U</a:t>
                </a:r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0DB9DA2E-AE7D-F9BF-7899-31B36BD8195D}"/>
                  </a:ext>
                </a:extLst>
              </p:cNvPr>
              <p:cNvSpPr/>
              <p:nvPr/>
            </p:nvSpPr>
            <p:spPr>
              <a:xfrm rot="240000">
                <a:off x="4992215" y="2361740"/>
                <a:ext cx="1459793" cy="680114"/>
              </a:xfrm>
              <a:custGeom>
                <a:avLst/>
                <a:gdLst>
                  <a:gd name="csX0" fmla="*/ 0 w 1459793"/>
                  <a:gd name="csY0" fmla="*/ 113355 h 680114"/>
                  <a:gd name="csX1" fmla="*/ 113355 w 1459793"/>
                  <a:gd name="csY1" fmla="*/ 0 h 680114"/>
                  <a:gd name="csX2" fmla="*/ 1346438 w 1459793"/>
                  <a:gd name="csY2" fmla="*/ 0 h 680114"/>
                  <a:gd name="csX3" fmla="*/ 1459793 w 1459793"/>
                  <a:gd name="csY3" fmla="*/ 113355 h 680114"/>
                  <a:gd name="csX4" fmla="*/ 1459793 w 1459793"/>
                  <a:gd name="csY4" fmla="*/ 566759 h 680114"/>
                  <a:gd name="csX5" fmla="*/ 1346438 w 1459793"/>
                  <a:gd name="csY5" fmla="*/ 680114 h 680114"/>
                  <a:gd name="csX6" fmla="*/ 113355 w 1459793"/>
                  <a:gd name="csY6" fmla="*/ 680114 h 680114"/>
                  <a:gd name="csX7" fmla="*/ 0 w 1459793"/>
                  <a:gd name="csY7" fmla="*/ 566759 h 680114"/>
                  <a:gd name="csX8" fmla="*/ 0 w 1459793"/>
                  <a:gd name="csY8" fmla="*/ 113355 h 68011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459793" h="680114">
                    <a:moveTo>
                      <a:pt x="0" y="113355"/>
                    </a:moveTo>
                    <a:cubicBezTo>
                      <a:pt x="0" y="50751"/>
                      <a:pt x="50751" y="0"/>
                      <a:pt x="113355" y="0"/>
                    </a:cubicBezTo>
                    <a:lnTo>
                      <a:pt x="1346438" y="0"/>
                    </a:lnTo>
                    <a:cubicBezTo>
                      <a:pt x="1409042" y="0"/>
                      <a:pt x="1459793" y="50751"/>
                      <a:pt x="1459793" y="113355"/>
                    </a:cubicBezTo>
                    <a:lnTo>
                      <a:pt x="1459793" y="566759"/>
                    </a:lnTo>
                    <a:cubicBezTo>
                      <a:pt x="1459793" y="629363"/>
                      <a:pt x="1409042" y="680114"/>
                      <a:pt x="1346438" y="680114"/>
                    </a:cubicBezTo>
                    <a:lnTo>
                      <a:pt x="113355" y="680114"/>
                    </a:lnTo>
                    <a:cubicBezTo>
                      <a:pt x="50751" y="680114"/>
                      <a:pt x="0" y="629363"/>
                      <a:pt x="0" y="566759"/>
                    </a:cubicBezTo>
                    <a:lnTo>
                      <a:pt x="0" y="113355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86505" tIns="186505" rIns="186507" bIns="186507" numCol="1" spcCol="1270" anchor="ctr" anchorCtr="0">
                <a:noAutofit/>
              </a:bodyPr>
              <a:lstStyle/>
              <a:p>
                <a:pPr algn="ctr" defTabSz="16594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667" dirty="0">
                    <a:solidFill>
                      <a:prstClr val="white"/>
                    </a:solidFill>
                    <a:latin typeface="Calibri"/>
                  </a:rPr>
                  <a:t>Education</a:t>
                </a:r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13FC7DE2-7EE1-060A-3DB9-3F731ABFF095}"/>
                  </a:ext>
                </a:extLst>
              </p:cNvPr>
              <p:cNvSpPr/>
              <p:nvPr/>
            </p:nvSpPr>
            <p:spPr>
              <a:xfrm rot="240000">
                <a:off x="5045047" y="1646476"/>
                <a:ext cx="1459793" cy="680114"/>
              </a:xfrm>
              <a:custGeom>
                <a:avLst/>
                <a:gdLst>
                  <a:gd name="csX0" fmla="*/ 0 w 1459793"/>
                  <a:gd name="csY0" fmla="*/ 113355 h 680114"/>
                  <a:gd name="csX1" fmla="*/ 113355 w 1459793"/>
                  <a:gd name="csY1" fmla="*/ 0 h 680114"/>
                  <a:gd name="csX2" fmla="*/ 1346438 w 1459793"/>
                  <a:gd name="csY2" fmla="*/ 0 h 680114"/>
                  <a:gd name="csX3" fmla="*/ 1459793 w 1459793"/>
                  <a:gd name="csY3" fmla="*/ 113355 h 680114"/>
                  <a:gd name="csX4" fmla="*/ 1459793 w 1459793"/>
                  <a:gd name="csY4" fmla="*/ 566759 h 680114"/>
                  <a:gd name="csX5" fmla="*/ 1346438 w 1459793"/>
                  <a:gd name="csY5" fmla="*/ 680114 h 680114"/>
                  <a:gd name="csX6" fmla="*/ 113355 w 1459793"/>
                  <a:gd name="csY6" fmla="*/ 680114 h 680114"/>
                  <a:gd name="csX7" fmla="*/ 0 w 1459793"/>
                  <a:gd name="csY7" fmla="*/ 566759 h 680114"/>
                  <a:gd name="csX8" fmla="*/ 0 w 1459793"/>
                  <a:gd name="csY8" fmla="*/ 113355 h 68011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459793" h="680114">
                    <a:moveTo>
                      <a:pt x="0" y="113355"/>
                    </a:moveTo>
                    <a:cubicBezTo>
                      <a:pt x="0" y="50751"/>
                      <a:pt x="50751" y="0"/>
                      <a:pt x="113355" y="0"/>
                    </a:cubicBezTo>
                    <a:lnTo>
                      <a:pt x="1346438" y="0"/>
                    </a:lnTo>
                    <a:cubicBezTo>
                      <a:pt x="1409042" y="0"/>
                      <a:pt x="1459793" y="50751"/>
                      <a:pt x="1459793" y="113355"/>
                    </a:cubicBezTo>
                    <a:lnTo>
                      <a:pt x="1459793" y="566759"/>
                    </a:lnTo>
                    <a:cubicBezTo>
                      <a:pt x="1459793" y="629363"/>
                      <a:pt x="1409042" y="680114"/>
                      <a:pt x="1346438" y="680114"/>
                    </a:cubicBezTo>
                    <a:lnTo>
                      <a:pt x="113355" y="680114"/>
                    </a:lnTo>
                    <a:cubicBezTo>
                      <a:pt x="50751" y="680114"/>
                      <a:pt x="0" y="629363"/>
                      <a:pt x="0" y="566759"/>
                    </a:cubicBezTo>
                    <a:lnTo>
                      <a:pt x="0" y="113355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86505" tIns="186505" rIns="186507" bIns="186507" numCol="1" spcCol="1270" anchor="ctr" anchorCtr="0">
                <a:noAutofit/>
              </a:bodyPr>
              <a:lstStyle/>
              <a:p>
                <a:pPr algn="ctr" defTabSz="16594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667" dirty="0">
                    <a:solidFill>
                      <a:prstClr val="white"/>
                    </a:solidFill>
                    <a:latin typeface="Calibri"/>
                  </a:rPr>
                  <a:t>Feeding</a:t>
                </a:r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F3FFD99C-11BC-A8FB-593C-BA6D40F36B1E}"/>
                  </a:ext>
                </a:extLst>
              </p:cNvPr>
              <p:cNvSpPr/>
              <p:nvPr/>
            </p:nvSpPr>
            <p:spPr>
              <a:xfrm rot="240000">
                <a:off x="2846423" y="2946956"/>
                <a:ext cx="1459793" cy="680114"/>
              </a:xfrm>
              <a:custGeom>
                <a:avLst/>
                <a:gdLst>
                  <a:gd name="csX0" fmla="*/ 0 w 1459793"/>
                  <a:gd name="csY0" fmla="*/ 113355 h 680114"/>
                  <a:gd name="csX1" fmla="*/ 113355 w 1459793"/>
                  <a:gd name="csY1" fmla="*/ 0 h 680114"/>
                  <a:gd name="csX2" fmla="*/ 1346438 w 1459793"/>
                  <a:gd name="csY2" fmla="*/ 0 h 680114"/>
                  <a:gd name="csX3" fmla="*/ 1459793 w 1459793"/>
                  <a:gd name="csY3" fmla="*/ 113355 h 680114"/>
                  <a:gd name="csX4" fmla="*/ 1459793 w 1459793"/>
                  <a:gd name="csY4" fmla="*/ 566759 h 680114"/>
                  <a:gd name="csX5" fmla="*/ 1346438 w 1459793"/>
                  <a:gd name="csY5" fmla="*/ 680114 h 680114"/>
                  <a:gd name="csX6" fmla="*/ 113355 w 1459793"/>
                  <a:gd name="csY6" fmla="*/ 680114 h 680114"/>
                  <a:gd name="csX7" fmla="*/ 0 w 1459793"/>
                  <a:gd name="csY7" fmla="*/ 566759 h 680114"/>
                  <a:gd name="csX8" fmla="*/ 0 w 1459793"/>
                  <a:gd name="csY8" fmla="*/ 113355 h 68011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459793" h="680114">
                    <a:moveTo>
                      <a:pt x="0" y="113355"/>
                    </a:moveTo>
                    <a:cubicBezTo>
                      <a:pt x="0" y="50751"/>
                      <a:pt x="50751" y="0"/>
                      <a:pt x="113355" y="0"/>
                    </a:cubicBezTo>
                    <a:lnTo>
                      <a:pt x="1346438" y="0"/>
                    </a:lnTo>
                    <a:cubicBezTo>
                      <a:pt x="1409042" y="0"/>
                      <a:pt x="1459793" y="50751"/>
                      <a:pt x="1459793" y="113355"/>
                    </a:cubicBezTo>
                    <a:lnTo>
                      <a:pt x="1459793" y="566759"/>
                    </a:lnTo>
                    <a:cubicBezTo>
                      <a:pt x="1459793" y="629363"/>
                      <a:pt x="1409042" y="680114"/>
                      <a:pt x="1346438" y="680114"/>
                    </a:cubicBezTo>
                    <a:lnTo>
                      <a:pt x="113355" y="680114"/>
                    </a:lnTo>
                    <a:cubicBezTo>
                      <a:pt x="50751" y="680114"/>
                      <a:pt x="0" y="629363"/>
                      <a:pt x="0" y="566759"/>
                    </a:cubicBezTo>
                    <a:lnTo>
                      <a:pt x="0" y="113355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86505" tIns="186505" rIns="186507" bIns="186507" numCol="1" spcCol="1270" anchor="ctr" anchorCtr="0">
                <a:noAutofit/>
              </a:bodyPr>
              <a:lstStyle/>
              <a:p>
                <a:pPr algn="ctr" defTabSz="16594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667" dirty="0">
                    <a:solidFill>
                      <a:prstClr val="white"/>
                    </a:solidFill>
                    <a:latin typeface="Calibri"/>
                  </a:rPr>
                  <a:t>Screening</a:t>
                </a:r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70E96E53-09C8-93E1-A0D2-92DFFA48CC09}"/>
                  </a:ext>
                </a:extLst>
              </p:cNvPr>
              <p:cNvSpPr/>
              <p:nvPr/>
            </p:nvSpPr>
            <p:spPr>
              <a:xfrm rot="240000">
                <a:off x="2899255" y="2215436"/>
                <a:ext cx="1459793" cy="680114"/>
              </a:xfrm>
              <a:custGeom>
                <a:avLst/>
                <a:gdLst>
                  <a:gd name="csX0" fmla="*/ 0 w 1459793"/>
                  <a:gd name="csY0" fmla="*/ 113355 h 680114"/>
                  <a:gd name="csX1" fmla="*/ 113355 w 1459793"/>
                  <a:gd name="csY1" fmla="*/ 0 h 680114"/>
                  <a:gd name="csX2" fmla="*/ 1346438 w 1459793"/>
                  <a:gd name="csY2" fmla="*/ 0 h 680114"/>
                  <a:gd name="csX3" fmla="*/ 1459793 w 1459793"/>
                  <a:gd name="csY3" fmla="*/ 113355 h 680114"/>
                  <a:gd name="csX4" fmla="*/ 1459793 w 1459793"/>
                  <a:gd name="csY4" fmla="*/ 566759 h 680114"/>
                  <a:gd name="csX5" fmla="*/ 1346438 w 1459793"/>
                  <a:gd name="csY5" fmla="*/ 680114 h 680114"/>
                  <a:gd name="csX6" fmla="*/ 113355 w 1459793"/>
                  <a:gd name="csY6" fmla="*/ 680114 h 680114"/>
                  <a:gd name="csX7" fmla="*/ 0 w 1459793"/>
                  <a:gd name="csY7" fmla="*/ 566759 h 680114"/>
                  <a:gd name="csX8" fmla="*/ 0 w 1459793"/>
                  <a:gd name="csY8" fmla="*/ 113355 h 680114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459793" h="680114">
                    <a:moveTo>
                      <a:pt x="0" y="113355"/>
                    </a:moveTo>
                    <a:cubicBezTo>
                      <a:pt x="0" y="50751"/>
                      <a:pt x="50751" y="0"/>
                      <a:pt x="113355" y="0"/>
                    </a:cubicBezTo>
                    <a:lnTo>
                      <a:pt x="1346438" y="0"/>
                    </a:lnTo>
                    <a:cubicBezTo>
                      <a:pt x="1409042" y="0"/>
                      <a:pt x="1459793" y="50751"/>
                      <a:pt x="1459793" y="113355"/>
                    </a:cubicBezTo>
                    <a:lnTo>
                      <a:pt x="1459793" y="566759"/>
                    </a:lnTo>
                    <a:cubicBezTo>
                      <a:pt x="1459793" y="629363"/>
                      <a:pt x="1409042" y="680114"/>
                      <a:pt x="1346438" y="680114"/>
                    </a:cubicBezTo>
                    <a:lnTo>
                      <a:pt x="113355" y="680114"/>
                    </a:lnTo>
                    <a:cubicBezTo>
                      <a:pt x="50751" y="680114"/>
                      <a:pt x="0" y="629363"/>
                      <a:pt x="0" y="566759"/>
                    </a:cubicBezTo>
                    <a:lnTo>
                      <a:pt x="0" y="113355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86505" tIns="186505" rIns="186507" bIns="186507" numCol="1" spcCol="1270" anchor="ctr" anchorCtr="0">
                <a:noAutofit/>
              </a:bodyPr>
              <a:lstStyle/>
              <a:p>
                <a:pPr algn="ctr" defTabSz="16594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667" dirty="0">
                    <a:solidFill>
                      <a:prstClr val="white"/>
                    </a:solidFill>
                    <a:latin typeface="Calibri"/>
                  </a:rPr>
                  <a:t>Vitals</a:t>
                </a:r>
              </a:p>
            </p:txBody>
          </p:sp>
        </p:grpSp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5E2483FA-94CF-723C-5FF4-9A2645569660}"/>
                </a:ext>
              </a:extLst>
            </p:cNvPr>
            <p:cNvSpPr/>
            <p:nvPr/>
          </p:nvSpPr>
          <p:spPr>
            <a:xfrm rot="240000">
              <a:off x="2904753" y="1398840"/>
              <a:ext cx="1459793" cy="680114"/>
            </a:xfrm>
            <a:custGeom>
              <a:avLst/>
              <a:gdLst>
                <a:gd name="csX0" fmla="*/ 0 w 1459793"/>
                <a:gd name="csY0" fmla="*/ 113355 h 680114"/>
                <a:gd name="csX1" fmla="*/ 113355 w 1459793"/>
                <a:gd name="csY1" fmla="*/ 0 h 680114"/>
                <a:gd name="csX2" fmla="*/ 1346438 w 1459793"/>
                <a:gd name="csY2" fmla="*/ 0 h 680114"/>
                <a:gd name="csX3" fmla="*/ 1459793 w 1459793"/>
                <a:gd name="csY3" fmla="*/ 113355 h 680114"/>
                <a:gd name="csX4" fmla="*/ 1459793 w 1459793"/>
                <a:gd name="csY4" fmla="*/ 566759 h 680114"/>
                <a:gd name="csX5" fmla="*/ 1346438 w 1459793"/>
                <a:gd name="csY5" fmla="*/ 680114 h 680114"/>
                <a:gd name="csX6" fmla="*/ 113355 w 1459793"/>
                <a:gd name="csY6" fmla="*/ 680114 h 680114"/>
                <a:gd name="csX7" fmla="*/ 0 w 1459793"/>
                <a:gd name="csY7" fmla="*/ 566759 h 680114"/>
                <a:gd name="csX8" fmla="*/ 0 w 1459793"/>
                <a:gd name="csY8" fmla="*/ 113355 h 6801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1459793" h="680114">
                  <a:moveTo>
                    <a:pt x="0" y="113355"/>
                  </a:moveTo>
                  <a:cubicBezTo>
                    <a:pt x="0" y="50751"/>
                    <a:pt x="50751" y="0"/>
                    <a:pt x="113355" y="0"/>
                  </a:cubicBezTo>
                  <a:lnTo>
                    <a:pt x="1346438" y="0"/>
                  </a:lnTo>
                  <a:cubicBezTo>
                    <a:pt x="1409042" y="0"/>
                    <a:pt x="1459793" y="50751"/>
                    <a:pt x="1459793" y="113355"/>
                  </a:cubicBezTo>
                  <a:lnTo>
                    <a:pt x="1459793" y="566759"/>
                  </a:lnTo>
                  <a:cubicBezTo>
                    <a:pt x="1459793" y="629363"/>
                    <a:pt x="1409042" y="680114"/>
                    <a:pt x="1346438" y="680114"/>
                  </a:cubicBezTo>
                  <a:lnTo>
                    <a:pt x="113355" y="680114"/>
                  </a:lnTo>
                  <a:cubicBezTo>
                    <a:pt x="50751" y="680114"/>
                    <a:pt x="0" y="629363"/>
                    <a:pt x="0" y="566759"/>
                  </a:cubicBezTo>
                  <a:lnTo>
                    <a:pt x="0" y="113355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6505" tIns="186505" rIns="186507" bIns="186507" numCol="1" spcCol="1270" anchor="ctr" anchorCtr="0">
              <a:noAutofit/>
            </a:bodyPr>
            <a:lstStyle/>
            <a:p>
              <a:pPr algn="ctr" defTabSz="16594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67" dirty="0">
                  <a:solidFill>
                    <a:prstClr val="white"/>
                  </a:solidFill>
                  <a:latin typeface="Calibri"/>
                </a:rPr>
                <a:t>Safety</a:t>
              </a:r>
            </a:p>
          </p:txBody>
        </p:sp>
      </p:grpSp>
      <p:sp>
        <p:nvSpPr>
          <p:cNvPr id="5" name="Striped Right Arrow 4">
            <a:extLst>
              <a:ext uri="{FF2B5EF4-FFF2-40B4-BE49-F238E27FC236}">
                <a16:creationId xmlns:a16="http://schemas.microsoft.com/office/drawing/2014/main" id="{FF483C64-51A0-43BA-C95F-E1D422E68693}"/>
              </a:ext>
            </a:extLst>
          </p:cNvPr>
          <p:cNvSpPr/>
          <p:nvPr/>
        </p:nvSpPr>
        <p:spPr>
          <a:xfrm>
            <a:off x="5666161" y="2896361"/>
            <a:ext cx="1094191" cy="730240"/>
          </a:xfrm>
          <a:prstGeom prst="strip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240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0E4C22-4AE2-3F9C-6853-FBB1847A0CDB}"/>
              </a:ext>
            </a:extLst>
          </p:cNvPr>
          <p:cNvGrpSpPr/>
          <p:nvPr/>
        </p:nvGrpSpPr>
        <p:grpSpPr>
          <a:xfrm>
            <a:off x="7358476" y="1791313"/>
            <a:ext cx="4317717" cy="3916248"/>
            <a:chOff x="5518857" y="1343485"/>
            <a:chExt cx="3238288" cy="2937186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FC7E1CC-06A0-542A-55C8-34220E5C85CC}"/>
                </a:ext>
              </a:extLst>
            </p:cNvPr>
            <p:cNvGrpSpPr/>
            <p:nvPr/>
          </p:nvGrpSpPr>
          <p:grpSpPr>
            <a:xfrm>
              <a:off x="5518857" y="1343485"/>
              <a:ext cx="3238288" cy="2144466"/>
              <a:chOff x="5553221" y="1862705"/>
              <a:chExt cx="3238288" cy="2144466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B365CB6E-646D-CE3E-C9D7-DC765F08DBEA}"/>
                  </a:ext>
                </a:extLst>
              </p:cNvPr>
              <p:cNvSpPr/>
              <p:nvPr/>
            </p:nvSpPr>
            <p:spPr>
              <a:xfrm>
                <a:off x="5553221" y="3788407"/>
                <a:ext cx="3238288" cy="218764"/>
              </a:xfrm>
              <a:prstGeom prst="rect">
                <a:avLst/>
              </a:prstGeom>
            </p:spPr>
            <p:style>
              <a:lnRef idx="2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pPr defTabSz="609585"/>
                <a:endParaRPr lang="en-US" sz="2400">
                  <a:solidFill>
                    <a:srgbClr val="54585A">
                      <a:hueOff val="0"/>
                      <a:satOff val="0"/>
                      <a:lumOff val="0"/>
                      <a:alphaOff val="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B97BC625-067B-61B8-2E11-C00EF8289528}"/>
                  </a:ext>
                </a:extLst>
              </p:cNvPr>
              <p:cNvSpPr/>
              <p:nvPr/>
            </p:nvSpPr>
            <p:spPr>
              <a:xfrm>
                <a:off x="7460213" y="3158020"/>
                <a:ext cx="1295315" cy="604480"/>
              </a:xfrm>
              <a:custGeom>
                <a:avLst/>
                <a:gdLst>
                  <a:gd name="csX0" fmla="*/ 0 w 1295315"/>
                  <a:gd name="csY0" fmla="*/ 100749 h 604480"/>
                  <a:gd name="csX1" fmla="*/ 100749 w 1295315"/>
                  <a:gd name="csY1" fmla="*/ 0 h 604480"/>
                  <a:gd name="csX2" fmla="*/ 1194566 w 1295315"/>
                  <a:gd name="csY2" fmla="*/ 0 h 604480"/>
                  <a:gd name="csX3" fmla="*/ 1295315 w 1295315"/>
                  <a:gd name="csY3" fmla="*/ 100749 h 604480"/>
                  <a:gd name="csX4" fmla="*/ 1295315 w 1295315"/>
                  <a:gd name="csY4" fmla="*/ 503731 h 604480"/>
                  <a:gd name="csX5" fmla="*/ 1194566 w 1295315"/>
                  <a:gd name="csY5" fmla="*/ 604480 h 604480"/>
                  <a:gd name="csX6" fmla="*/ 100749 w 1295315"/>
                  <a:gd name="csY6" fmla="*/ 604480 h 604480"/>
                  <a:gd name="csX7" fmla="*/ 0 w 1295315"/>
                  <a:gd name="csY7" fmla="*/ 503731 h 604480"/>
                  <a:gd name="csX8" fmla="*/ 0 w 1295315"/>
                  <a:gd name="csY8" fmla="*/ 100749 h 60448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295315" h="604480">
                    <a:moveTo>
                      <a:pt x="0" y="100749"/>
                    </a:moveTo>
                    <a:cubicBezTo>
                      <a:pt x="0" y="45107"/>
                      <a:pt x="45107" y="0"/>
                      <a:pt x="100749" y="0"/>
                    </a:cubicBezTo>
                    <a:lnTo>
                      <a:pt x="1194566" y="0"/>
                    </a:lnTo>
                    <a:cubicBezTo>
                      <a:pt x="1250208" y="0"/>
                      <a:pt x="1295315" y="45107"/>
                      <a:pt x="1295315" y="100749"/>
                    </a:cubicBezTo>
                    <a:lnTo>
                      <a:pt x="1295315" y="503731"/>
                    </a:lnTo>
                    <a:cubicBezTo>
                      <a:pt x="1295315" y="559373"/>
                      <a:pt x="1250208" y="604480"/>
                      <a:pt x="1194566" y="604480"/>
                    </a:cubicBezTo>
                    <a:lnTo>
                      <a:pt x="100749" y="604480"/>
                    </a:lnTo>
                    <a:cubicBezTo>
                      <a:pt x="45107" y="604480"/>
                      <a:pt x="0" y="559373"/>
                      <a:pt x="0" y="503731"/>
                    </a:cubicBezTo>
                    <a:lnTo>
                      <a:pt x="0" y="100749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5544" tIns="115544" rIns="115544" bIns="115544" numCol="1" spcCol="1270" anchor="ctr" anchorCtr="0">
                <a:noAutofit/>
              </a:bodyPr>
              <a:lstStyle/>
              <a:p>
                <a:pPr algn="ctr" defTabSz="88897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667" dirty="0">
                    <a:solidFill>
                      <a:prstClr val="white"/>
                    </a:solidFill>
                    <a:latin typeface="Calibri"/>
                  </a:rPr>
                  <a:t>Dispo/F/U</a:t>
                </a:r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A0020987-9397-3D05-565C-1B25EA520666}"/>
                  </a:ext>
                </a:extLst>
              </p:cNvPr>
              <p:cNvSpPr/>
              <p:nvPr/>
            </p:nvSpPr>
            <p:spPr>
              <a:xfrm>
                <a:off x="7460213" y="2510363"/>
                <a:ext cx="1295315" cy="604480"/>
              </a:xfrm>
              <a:custGeom>
                <a:avLst/>
                <a:gdLst>
                  <a:gd name="csX0" fmla="*/ 0 w 1295315"/>
                  <a:gd name="csY0" fmla="*/ 100749 h 604480"/>
                  <a:gd name="csX1" fmla="*/ 100749 w 1295315"/>
                  <a:gd name="csY1" fmla="*/ 0 h 604480"/>
                  <a:gd name="csX2" fmla="*/ 1194566 w 1295315"/>
                  <a:gd name="csY2" fmla="*/ 0 h 604480"/>
                  <a:gd name="csX3" fmla="*/ 1295315 w 1295315"/>
                  <a:gd name="csY3" fmla="*/ 100749 h 604480"/>
                  <a:gd name="csX4" fmla="*/ 1295315 w 1295315"/>
                  <a:gd name="csY4" fmla="*/ 503731 h 604480"/>
                  <a:gd name="csX5" fmla="*/ 1194566 w 1295315"/>
                  <a:gd name="csY5" fmla="*/ 604480 h 604480"/>
                  <a:gd name="csX6" fmla="*/ 100749 w 1295315"/>
                  <a:gd name="csY6" fmla="*/ 604480 h 604480"/>
                  <a:gd name="csX7" fmla="*/ 0 w 1295315"/>
                  <a:gd name="csY7" fmla="*/ 503731 h 604480"/>
                  <a:gd name="csX8" fmla="*/ 0 w 1295315"/>
                  <a:gd name="csY8" fmla="*/ 100749 h 60448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295315" h="604480">
                    <a:moveTo>
                      <a:pt x="0" y="100749"/>
                    </a:moveTo>
                    <a:cubicBezTo>
                      <a:pt x="0" y="45107"/>
                      <a:pt x="45107" y="0"/>
                      <a:pt x="100749" y="0"/>
                    </a:cubicBezTo>
                    <a:lnTo>
                      <a:pt x="1194566" y="0"/>
                    </a:lnTo>
                    <a:cubicBezTo>
                      <a:pt x="1250208" y="0"/>
                      <a:pt x="1295315" y="45107"/>
                      <a:pt x="1295315" y="100749"/>
                    </a:cubicBezTo>
                    <a:lnTo>
                      <a:pt x="1295315" y="503731"/>
                    </a:lnTo>
                    <a:cubicBezTo>
                      <a:pt x="1295315" y="559373"/>
                      <a:pt x="1250208" y="604480"/>
                      <a:pt x="1194566" y="604480"/>
                    </a:cubicBezTo>
                    <a:lnTo>
                      <a:pt x="100749" y="604480"/>
                    </a:lnTo>
                    <a:cubicBezTo>
                      <a:pt x="45107" y="604480"/>
                      <a:pt x="0" y="559373"/>
                      <a:pt x="0" y="503731"/>
                    </a:cubicBezTo>
                    <a:lnTo>
                      <a:pt x="0" y="100749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5544" tIns="115544" rIns="115544" bIns="115544" numCol="1" spcCol="1270" anchor="ctr" anchorCtr="0">
                <a:noAutofit/>
              </a:bodyPr>
              <a:lstStyle/>
              <a:p>
                <a:pPr algn="ctr" defTabSz="88897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667" dirty="0">
                    <a:solidFill>
                      <a:prstClr val="white"/>
                    </a:solidFill>
                    <a:latin typeface="Calibri"/>
                  </a:rPr>
                  <a:t>Education</a:t>
                </a:r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59F94FC9-9BC1-DCF3-9B6B-13F929A361B6}"/>
                  </a:ext>
                </a:extLst>
              </p:cNvPr>
              <p:cNvSpPr/>
              <p:nvPr/>
            </p:nvSpPr>
            <p:spPr>
              <a:xfrm>
                <a:off x="7460213" y="1862705"/>
                <a:ext cx="1295315" cy="604480"/>
              </a:xfrm>
              <a:custGeom>
                <a:avLst/>
                <a:gdLst>
                  <a:gd name="csX0" fmla="*/ 0 w 1295315"/>
                  <a:gd name="csY0" fmla="*/ 100749 h 604480"/>
                  <a:gd name="csX1" fmla="*/ 100749 w 1295315"/>
                  <a:gd name="csY1" fmla="*/ 0 h 604480"/>
                  <a:gd name="csX2" fmla="*/ 1194566 w 1295315"/>
                  <a:gd name="csY2" fmla="*/ 0 h 604480"/>
                  <a:gd name="csX3" fmla="*/ 1295315 w 1295315"/>
                  <a:gd name="csY3" fmla="*/ 100749 h 604480"/>
                  <a:gd name="csX4" fmla="*/ 1295315 w 1295315"/>
                  <a:gd name="csY4" fmla="*/ 503731 h 604480"/>
                  <a:gd name="csX5" fmla="*/ 1194566 w 1295315"/>
                  <a:gd name="csY5" fmla="*/ 604480 h 604480"/>
                  <a:gd name="csX6" fmla="*/ 100749 w 1295315"/>
                  <a:gd name="csY6" fmla="*/ 604480 h 604480"/>
                  <a:gd name="csX7" fmla="*/ 0 w 1295315"/>
                  <a:gd name="csY7" fmla="*/ 503731 h 604480"/>
                  <a:gd name="csX8" fmla="*/ 0 w 1295315"/>
                  <a:gd name="csY8" fmla="*/ 100749 h 60448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295315" h="604480">
                    <a:moveTo>
                      <a:pt x="0" y="100749"/>
                    </a:moveTo>
                    <a:cubicBezTo>
                      <a:pt x="0" y="45107"/>
                      <a:pt x="45107" y="0"/>
                      <a:pt x="100749" y="0"/>
                    </a:cubicBezTo>
                    <a:lnTo>
                      <a:pt x="1194566" y="0"/>
                    </a:lnTo>
                    <a:cubicBezTo>
                      <a:pt x="1250208" y="0"/>
                      <a:pt x="1295315" y="45107"/>
                      <a:pt x="1295315" y="100749"/>
                    </a:cubicBezTo>
                    <a:lnTo>
                      <a:pt x="1295315" y="503731"/>
                    </a:lnTo>
                    <a:cubicBezTo>
                      <a:pt x="1295315" y="559373"/>
                      <a:pt x="1250208" y="604480"/>
                      <a:pt x="1194566" y="604480"/>
                    </a:cubicBezTo>
                    <a:lnTo>
                      <a:pt x="100749" y="604480"/>
                    </a:lnTo>
                    <a:cubicBezTo>
                      <a:pt x="45107" y="604480"/>
                      <a:pt x="0" y="559373"/>
                      <a:pt x="0" y="503731"/>
                    </a:cubicBezTo>
                    <a:lnTo>
                      <a:pt x="0" y="100749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5544" tIns="115544" rIns="115544" bIns="115544" numCol="1" spcCol="1270" anchor="ctr" anchorCtr="0">
                <a:noAutofit/>
              </a:bodyPr>
              <a:lstStyle/>
              <a:p>
                <a:pPr algn="ctr" defTabSz="88897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667" dirty="0">
                    <a:solidFill>
                      <a:prstClr val="white"/>
                    </a:solidFill>
                    <a:latin typeface="Calibri"/>
                  </a:rPr>
                  <a:t>Feeding</a:t>
                </a:r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2C84DAA1-AA0E-0D02-6917-73C3D6A87112}"/>
                  </a:ext>
                </a:extLst>
              </p:cNvPr>
              <p:cNvSpPr/>
              <p:nvPr/>
            </p:nvSpPr>
            <p:spPr>
              <a:xfrm>
                <a:off x="5589202" y="3158020"/>
                <a:ext cx="1295315" cy="604480"/>
              </a:xfrm>
              <a:custGeom>
                <a:avLst/>
                <a:gdLst>
                  <a:gd name="csX0" fmla="*/ 0 w 1295315"/>
                  <a:gd name="csY0" fmla="*/ 100749 h 604480"/>
                  <a:gd name="csX1" fmla="*/ 100749 w 1295315"/>
                  <a:gd name="csY1" fmla="*/ 0 h 604480"/>
                  <a:gd name="csX2" fmla="*/ 1194566 w 1295315"/>
                  <a:gd name="csY2" fmla="*/ 0 h 604480"/>
                  <a:gd name="csX3" fmla="*/ 1295315 w 1295315"/>
                  <a:gd name="csY3" fmla="*/ 100749 h 604480"/>
                  <a:gd name="csX4" fmla="*/ 1295315 w 1295315"/>
                  <a:gd name="csY4" fmla="*/ 503731 h 604480"/>
                  <a:gd name="csX5" fmla="*/ 1194566 w 1295315"/>
                  <a:gd name="csY5" fmla="*/ 604480 h 604480"/>
                  <a:gd name="csX6" fmla="*/ 100749 w 1295315"/>
                  <a:gd name="csY6" fmla="*/ 604480 h 604480"/>
                  <a:gd name="csX7" fmla="*/ 0 w 1295315"/>
                  <a:gd name="csY7" fmla="*/ 503731 h 604480"/>
                  <a:gd name="csX8" fmla="*/ 0 w 1295315"/>
                  <a:gd name="csY8" fmla="*/ 100749 h 60448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295315" h="604480">
                    <a:moveTo>
                      <a:pt x="0" y="100749"/>
                    </a:moveTo>
                    <a:cubicBezTo>
                      <a:pt x="0" y="45107"/>
                      <a:pt x="45107" y="0"/>
                      <a:pt x="100749" y="0"/>
                    </a:cubicBezTo>
                    <a:lnTo>
                      <a:pt x="1194566" y="0"/>
                    </a:lnTo>
                    <a:cubicBezTo>
                      <a:pt x="1250208" y="0"/>
                      <a:pt x="1295315" y="45107"/>
                      <a:pt x="1295315" y="100749"/>
                    </a:cubicBezTo>
                    <a:lnTo>
                      <a:pt x="1295315" y="503731"/>
                    </a:lnTo>
                    <a:cubicBezTo>
                      <a:pt x="1295315" y="559373"/>
                      <a:pt x="1250208" y="604480"/>
                      <a:pt x="1194566" y="604480"/>
                    </a:cubicBezTo>
                    <a:lnTo>
                      <a:pt x="100749" y="604480"/>
                    </a:lnTo>
                    <a:cubicBezTo>
                      <a:pt x="45107" y="604480"/>
                      <a:pt x="0" y="559373"/>
                      <a:pt x="0" y="503731"/>
                    </a:cubicBezTo>
                    <a:lnTo>
                      <a:pt x="0" y="100749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5544" tIns="115544" rIns="115544" bIns="115544" numCol="1" spcCol="1270" anchor="ctr" anchorCtr="0">
                <a:noAutofit/>
              </a:bodyPr>
              <a:lstStyle/>
              <a:p>
                <a:pPr algn="ctr" defTabSz="88897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667" dirty="0">
                    <a:solidFill>
                      <a:prstClr val="white"/>
                    </a:solidFill>
                    <a:latin typeface="Calibri"/>
                  </a:rPr>
                  <a:t>Screening</a:t>
                </a:r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68FA44CE-241E-E3F9-E95B-DD7F20B08F2E}"/>
                  </a:ext>
                </a:extLst>
              </p:cNvPr>
              <p:cNvSpPr/>
              <p:nvPr/>
            </p:nvSpPr>
            <p:spPr>
              <a:xfrm>
                <a:off x="5589202" y="2510363"/>
                <a:ext cx="1295315" cy="604480"/>
              </a:xfrm>
              <a:custGeom>
                <a:avLst/>
                <a:gdLst>
                  <a:gd name="csX0" fmla="*/ 0 w 1295315"/>
                  <a:gd name="csY0" fmla="*/ 100749 h 604480"/>
                  <a:gd name="csX1" fmla="*/ 100749 w 1295315"/>
                  <a:gd name="csY1" fmla="*/ 0 h 604480"/>
                  <a:gd name="csX2" fmla="*/ 1194566 w 1295315"/>
                  <a:gd name="csY2" fmla="*/ 0 h 604480"/>
                  <a:gd name="csX3" fmla="*/ 1295315 w 1295315"/>
                  <a:gd name="csY3" fmla="*/ 100749 h 604480"/>
                  <a:gd name="csX4" fmla="*/ 1295315 w 1295315"/>
                  <a:gd name="csY4" fmla="*/ 503731 h 604480"/>
                  <a:gd name="csX5" fmla="*/ 1194566 w 1295315"/>
                  <a:gd name="csY5" fmla="*/ 604480 h 604480"/>
                  <a:gd name="csX6" fmla="*/ 100749 w 1295315"/>
                  <a:gd name="csY6" fmla="*/ 604480 h 604480"/>
                  <a:gd name="csX7" fmla="*/ 0 w 1295315"/>
                  <a:gd name="csY7" fmla="*/ 503731 h 604480"/>
                  <a:gd name="csX8" fmla="*/ 0 w 1295315"/>
                  <a:gd name="csY8" fmla="*/ 100749 h 60448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295315" h="604480">
                    <a:moveTo>
                      <a:pt x="0" y="100749"/>
                    </a:moveTo>
                    <a:cubicBezTo>
                      <a:pt x="0" y="45107"/>
                      <a:pt x="45107" y="0"/>
                      <a:pt x="100749" y="0"/>
                    </a:cubicBezTo>
                    <a:lnTo>
                      <a:pt x="1194566" y="0"/>
                    </a:lnTo>
                    <a:cubicBezTo>
                      <a:pt x="1250208" y="0"/>
                      <a:pt x="1295315" y="45107"/>
                      <a:pt x="1295315" y="100749"/>
                    </a:cubicBezTo>
                    <a:lnTo>
                      <a:pt x="1295315" y="503731"/>
                    </a:lnTo>
                    <a:cubicBezTo>
                      <a:pt x="1295315" y="559373"/>
                      <a:pt x="1250208" y="604480"/>
                      <a:pt x="1194566" y="604480"/>
                    </a:cubicBezTo>
                    <a:lnTo>
                      <a:pt x="100749" y="604480"/>
                    </a:lnTo>
                    <a:cubicBezTo>
                      <a:pt x="45107" y="604480"/>
                      <a:pt x="0" y="559373"/>
                      <a:pt x="0" y="503731"/>
                    </a:cubicBezTo>
                    <a:lnTo>
                      <a:pt x="0" y="100749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5544" tIns="115544" rIns="115544" bIns="115544" numCol="1" spcCol="1270" anchor="ctr" anchorCtr="0">
                <a:noAutofit/>
              </a:bodyPr>
              <a:lstStyle/>
              <a:p>
                <a:pPr algn="ctr" defTabSz="88897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667" dirty="0">
                    <a:solidFill>
                      <a:prstClr val="white"/>
                    </a:solidFill>
                    <a:latin typeface="Calibri"/>
                  </a:rPr>
                  <a:t>Vitals</a:t>
                </a:r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DDF5FE75-F684-8F3E-F16A-248329EF01E0}"/>
                  </a:ext>
                </a:extLst>
              </p:cNvPr>
              <p:cNvSpPr/>
              <p:nvPr/>
            </p:nvSpPr>
            <p:spPr>
              <a:xfrm>
                <a:off x="5589202" y="1862705"/>
                <a:ext cx="1295315" cy="604480"/>
              </a:xfrm>
              <a:custGeom>
                <a:avLst/>
                <a:gdLst>
                  <a:gd name="csX0" fmla="*/ 0 w 1295315"/>
                  <a:gd name="csY0" fmla="*/ 100749 h 604480"/>
                  <a:gd name="csX1" fmla="*/ 100749 w 1295315"/>
                  <a:gd name="csY1" fmla="*/ 0 h 604480"/>
                  <a:gd name="csX2" fmla="*/ 1194566 w 1295315"/>
                  <a:gd name="csY2" fmla="*/ 0 h 604480"/>
                  <a:gd name="csX3" fmla="*/ 1295315 w 1295315"/>
                  <a:gd name="csY3" fmla="*/ 100749 h 604480"/>
                  <a:gd name="csX4" fmla="*/ 1295315 w 1295315"/>
                  <a:gd name="csY4" fmla="*/ 503731 h 604480"/>
                  <a:gd name="csX5" fmla="*/ 1194566 w 1295315"/>
                  <a:gd name="csY5" fmla="*/ 604480 h 604480"/>
                  <a:gd name="csX6" fmla="*/ 100749 w 1295315"/>
                  <a:gd name="csY6" fmla="*/ 604480 h 604480"/>
                  <a:gd name="csX7" fmla="*/ 0 w 1295315"/>
                  <a:gd name="csY7" fmla="*/ 503731 h 604480"/>
                  <a:gd name="csX8" fmla="*/ 0 w 1295315"/>
                  <a:gd name="csY8" fmla="*/ 100749 h 60448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  <a:cxn ang="0">
                    <a:pos x="csX5" y="csY5"/>
                  </a:cxn>
                  <a:cxn ang="0">
                    <a:pos x="csX6" y="csY6"/>
                  </a:cxn>
                  <a:cxn ang="0">
                    <a:pos x="csX7" y="csY7"/>
                  </a:cxn>
                  <a:cxn ang="0">
                    <a:pos x="csX8" y="csY8"/>
                  </a:cxn>
                </a:cxnLst>
                <a:rect l="l" t="t" r="r" b="b"/>
                <a:pathLst>
                  <a:path w="1295315" h="604480">
                    <a:moveTo>
                      <a:pt x="0" y="100749"/>
                    </a:moveTo>
                    <a:cubicBezTo>
                      <a:pt x="0" y="45107"/>
                      <a:pt x="45107" y="0"/>
                      <a:pt x="100749" y="0"/>
                    </a:cubicBezTo>
                    <a:lnTo>
                      <a:pt x="1194566" y="0"/>
                    </a:lnTo>
                    <a:cubicBezTo>
                      <a:pt x="1250208" y="0"/>
                      <a:pt x="1295315" y="45107"/>
                      <a:pt x="1295315" y="100749"/>
                    </a:cubicBezTo>
                    <a:lnTo>
                      <a:pt x="1295315" y="503731"/>
                    </a:lnTo>
                    <a:cubicBezTo>
                      <a:pt x="1295315" y="559373"/>
                      <a:pt x="1250208" y="604480"/>
                      <a:pt x="1194566" y="604480"/>
                    </a:cubicBezTo>
                    <a:lnTo>
                      <a:pt x="100749" y="604480"/>
                    </a:lnTo>
                    <a:cubicBezTo>
                      <a:pt x="45107" y="604480"/>
                      <a:pt x="0" y="559373"/>
                      <a:pt x="0" y="503731"/>
                    </a:cubicBezTo>
                    <a:lnTo>
                      <a:pt x="0" y="100749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5544" tIns="115544" rIns="115544" bIns="115544" numCol="1" spcCol="1270" anchor="ctr" anchorCtr="0">
                <a:noAutofit/>
              </a:bodyPr>
              <a:lstStyle/>
              <a:p>
                <a:pPr algn="ctr" defTabSz="88897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667" dirty="0">
                    <a:solidFill>
                      <a:prstClr val="white"/>
                    </a:solidFill>
                    <a:latin typeface="Calibri"/>
                  </a:rPr>
                  <a:t>Safety</a:t>
                </a:r>
              </a:p>
            </p:txBody>
          </p:sp>
        </p:grpSp>
        <p:pic>
          <p:nvPicPr>
            <p:cNvPr id="30" name="Graphic 29" descr="Group success with solid fill">
              <a:extLst>
                <a:ext uri="{FF2B5EF4-FFF2-40B4-BE49-F238E27FC236}">
                  <a16:creationId xmlns:a16="http://schemas.microsoft.com/office/drawing/2014/main" id="{0226CF9A-5C31-B100-2B88-F3F77C3F8E7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935753" y="3366271"/>
              <a:ext cx="914400" cy="914400"/>
            </a:xfrm>
            <a:prstGeom prst="rect">
              <a:avLst/>
            </a:prstGeom>
          </p:spPr>
        </p:pic>
        <p:pic>
          <p:nvPicPr>
            <p:cNvPr id="32" name="Graphic 31" descr="Group success with solid fill">
              <a:extLst>
                <a:ext uri="{FF2B5EF4-FFF2-40B4-BE49-F238E27FC236}">
                  <a16:creationId xmlns:a16="http://schemas.microsoft.com/office/drawing/2014/main" id="{F2AA66FA-F035-7B97-DA85-1F7DD13F806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68649" y="3360860"/>
              <a:ext cx="914400" cy="914400"/>
            </a:xfrm>
            <a:prstGeom prst="rect">
              <a:avLst/>
            </a:prstGeom>
          </p:spPr>
        </p:pic>
      </p:grpSp>
      <p:pic>
        <p:nvPicPr>
          <p:cNvPr id="34" name="Graphic 33" descr="Spinning Plates with solid fill">
            <a:extLst>
              <a:ext uri="{FF2B5EF4-FFF2-40B4-BE49-F238E27FC236}">
                <a16:creationId xmlns:a16="http://schemas.microsoft.com/office/drawing/2014/main" id="{B2DFFFDD-33D1-B57B-698B-2AD292BAC63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71249" y="4504759"/>
            <a:ext cx="1219200" cy="12192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5F711260-9502-B686-FEBC-37EF6C0F07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0735" y="407220"/>
            <a:ext cx="2611821" cy="1150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451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D63364-FDED-728B-943F-457A2D4E37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rner of flowers and leaves&#10;&#10;AI-generated content may be incorrect.">
            <a:extLst>
              <a:ext uri="{FF2B5EF4-FFF2-40B4-BE49-F238E27FC236}">
                <a16:creationId xmlns:a16="http://schemas.microsoft.com/office/drawing/2014/main" id="{2F511F76-D0EA-A632-1E58-C97FC962C1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76421" y="-535532"/>
            <a:ext cx="4426789" cy="442732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4927E8D-99E7-6DBD-D888-AD7E4A07EB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4596" y="2377900"/>
            <a:ext cx="2350169" cy="2026020"/>
          </a:xfrm>
        </p:spPr>
        <p:txBody>
          <a:bodyPr/>
          <a:lstStyle/>
          <a:p>
            <a:r>
              <a:rPr lang="en-US" sz="4000" dirty="0">
                <a:solidFill>
                  <a:schemeClr val="accent1"/>
                </a:solidFill>
                <a:ea typeface="Lato Medium"/>
                <a:cs typeface="Lato Medium"/>
              </a:rPr>
              <a:t>Panel Discussion</a:t>
            </a:r>
            <a:endParaRPr lang="en-US" sz="4000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3326D3-7AD7-31A6-A343-842DA55042C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3768E5-3409-A93F-E1C3-F32FDD0CB3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11" name="Freeform 14" descr="A close-up of flowers in grass&#10;&#10;AI-generated content may be incorrect.">
            <a:extLst>
              <a:ext uri="{FF2B5EF4-FFF2-40B4-BE49-F238E27FC236}">
                <a16:creationId xmlns:a16="http://schemas.microsoft.com/office/drawing/2014/main" id="{57350478-3048-E1E3-83D5-28AE55D2789D}"/>
              </a:ext>
            </a:extLst>
          </p:cNvPr>
          <p:cNvSpPr/>
          <p:nvPr/>
        </p:nvSpPr>
        <p:spPr>
          <a:xfrm>
            <a:off x="-646981" y="5472593"/>
            <a:ext cx="7848600" cy="1543558"/>
          </a:xfrm>
          <a:custGeom>
            <a:avLst/>
            <a:gdLst/>
            <a:ahLst/>
            <a:cxnLst/>
            <a:rect l="l" t="t" r="r" b="b"/>
            <a:pathLst>
              <a:path w="11772900" h="2315337">
                <a:moveTo>
                  <a:pt x="0" y="0"/>
                </a:moveTo>
                <a:lnTo>
                  <a:pt x="11772900" y="0"/>
                </a:lnTo>
                <a:lnTo>
                  <a:pt x="11772900" y="2315337"/>
                </a:lnTo>
                <a:lnTo>
                  <a:pt x="0" y="231533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3" name="Freeform 13" descr="A cartoon of a bird on a branch&#10;&#10;AI-generated content may be incorrect.">
            <a:extLst>
              <a:ext uri="{FF2B5EF4-FFF2-40B4-BE49-F238E27FC236}">
                <a16:creationId xmlns:a16="http://schemas.microsoft.com/office/drawing/2014/main" id="{7F99092C-2DF0-131B-1610-757281C7ED55}"/>
              </a:ext>
            </a:extLst>
          </p:cNvPr>
          <p:cNvSpPr/>
          <p:nvPr/>
        </p:nvSpPr>
        <p:spPr>
          <a:xfrm>
            <a:off x="570080" y="493310"/>
            <a:ext cx="1629063" cy="1442822"/>
          </a:xfrm>
          <a:custGeom>
            <a:avLst/>
            <a:gdLst/>
            <a:ahLst/>
            <a:cxnLst/>
            <a:rect l="l" t="t" r="r" b="b"/>
            <a:pathLst>
              <a:path w="3715992" h="3005309">
                <a:moveTo>
                  <a:pt x="0" y="0"/>
                </a:moveTo>
                <a:lnTo>
                  <a:pt x="3715992" y="0"/>
                </a:lnTo>
                <a:lnTo>
                  <a:pt x="3715992" y="3005308"/>
                </a:lnTo>
                <a:lnTo>
                  <a:pt x="0" y="3005308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A76A47F-08C7-CB42-D572-7774712AD5F8}"/>
              </a:ext>
            </a:extLst>
          </p:cNvPr>
          <p:cNvSpPr/>
          <p:nvPr/>
        </p:nvSpPr>
        <p:spPr>
          <a:xfrm>
            <a:off x="7555294" y="5797027"/>
            <a:ext cx="3850773" cy="86092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ea typeface="Calibri"/>
                <a:cs typeface="Calibri"/>
              </a:rPr>
              <a:t>IL-LPI Hatching at Annual Conference 2026</a:t>
            </a:r>
          </a:p>
        </p:txBody>
      </p:sp>
      <p:pic>
        <p:nvPicPr>
          <p:cNvPr id="7" name="Picture 6" descr="Eggs and chick">
            <a:extLst>
              <a:ext uri="{FF2B5EF4-FFF2-40B4-BE49-F238E27FC236}">
                <a16:creationId xmlns:a16="http://schemas.microsoft.com/office/drawing/2014/main" id="{1C4817C0-73FF-5410-E9A1-91331AF700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051" y="435188"/>
            <a:ext cx="7958717" cy="5305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7027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77">
          <a:extLst>
            <a:ext uri="{FF2B5EF4-FFF2-40B4-BE49-F238E27FC236}">
              <a16:creationId xmlns:a16="http://schemas.microsoft.com/office/drawing/2014/main" id="{D06E73FC-9753-61D9-B3B6-91DB57A78B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8" name="Google Shape;9278;g3c5b803b16c_1_12">
            <a:extLst>
              <a:ext uri="{FF2B5EF4-FFF2-40B4-BE49-F238E27FC236}">
                <a16:creationId xmlns:a16="http://schemas.microsoft.com/office/drawing/2014/main" id="{153228E1-090B-C615-A872-BB27C752B47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05199" y="417668"/>
            <a:ext cx="10972800" cy="7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4700" dirty="0">
                <a:latin typeface="DM Sans"/>
                <a:ea typeface="DM Sans"/>
                <a:cs typeface="DM Sans"/>
                <a:sym typeface="DM Sans"/>
              </a:rPr>
              <a:t>ILPQC Timeline </a:t>
            </a:r>
            <a:endParaRPr sz="4700" dirty="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9279" name="Google Shape;9279;g3c5b803b16c_1_12">
            <a:extLst>
              <a:ext uri="{FF2B5EF4-FFF2-40B4-BE49-F238E27FC236}">
                <a16:creationId xmlns:a16="http://schemas.microsoft.com/office/drawing/2014/main" id="{66D5594B-92FB-7867-46F0-80E1F7BDDAD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13264" y="6397283"/>
            <a:ext cx="2804100" cy="2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34</a:t>
            </a:fld>
            <a:endParaRPr sz="1800" b="0" i="0" u="none" strike="noStrike" cap="none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80" name="Google Shape;9280;g3c5b803b16c_1_12">
            <a:extLst>
              <a:ext uri="{FF2B5EF4-FFF2-40B4-BE49-F238E27FC236}">
                <a16:creationId xmlns:a16="http://schemas.microsoft.com/office/drawing/2014/main" id="{B5A1A001-C117-D741-3047-144E5EB33E3B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500" cy="2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llinois Perinatal Quality Collaborative</a:t>
            </a:r>
            <a:endParaRPr/>
          </a:p>
        </p:txBody>
      </p:sp>
      <p:grpSp>
        <p:nvGrpSpPr>
          <p:cNvPr id="9281" name="Google Shape;9281;g3c5b803b16c_1_12">
            <a:extLst>
              <a:ext uri="{FF2B5EF4-FFF2-40B4-BE49-F238E27FC236}">
                <a16:creationId xmlns:a16="http://schemas.microsoft.com/office/drawing/2014/main" id="{C29E37DC-16E3-D9CF-FEA9-07ADFD73A229}"/>
              </a:ext>
            </a:extLst>
          </p:cNvPr>
          <p:cNvGrpSpPr/>
          <p:nvPr/>
        </p:nvGrpSpPr>
        <p:grpSpPr>
          <a:xfrm>
            <a:off x="88500" y="1314839"/>
            <a:ext cx="12015000" cy="4153700"/>
            <a:chOff x="178185" y="2165086"/>
            <a:chExt cx="12015000" cy="4153700"/>
          </a:xfrm>
        </p:grpSpPr>
        <p:cxnSp>
          <p:nvCxnSpPr>
            <p:cNvPr id="9282" name="Google Shape;9282;g3c5b803b16c_1_12">
              <a:extLst>
                <a:ext uri="{FF2B5EF4-FFF2-40B4-BE49-F238E27FC236}">
                  <a16:creationId xmlns:a16="http://schemas.microsoft.com/office/drawing/2014/main" id="{BFE7287F-7231-437E-6072-0E744B67CD79}"/>
                </a:ext>
              </a:extLst>
            </p:cNvPr>
            <p:cNvCxnSpPr/>
            <p:nvPr/>
          </p:nvCxnSpPr>
          <p:spPr>
            <a:xfrm rot="10800000" flipH="1">
              <a:off x="178185" y="4958338"/>
              <a:ext cx="12015000" cy="30600"/>
            </a:xfrm>
            <a:prstGeom prst="straightConnector1">
              <a:avLst/>
            </a:prstGeom>
            <a:noFill/>
            <a:ln w="57150" cap="flat" cmpd="sng">
              <a:solidFill>
                <a:srgbClr val="244061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grpSp>
          <p:nvGrpSpPr>
            <p:cNvPr id="9283" name="Google Shape;9283;g3c5b803b16c_1_12">
              <a:extLst>
                <a:ext uri="{FF2B5EF4-FFF2-40B4-BE49-F238E27FC236}">
                  <a16:creationId xmlns:a16="http://schemas.microsoft.com/office/drawing/2014/main" id="{BD6B8E46-0DED-72D6-B17C-719D8C48EC8E}"/>
                </a:ext>
              </a:extLst>
            </p:cNvPr>
            <p:cNvGrpSpPr/>
            <p:nvPr/>
          </p:nvGrpSpPr>
          <p:grpSpPr>
            <a:xfrm>
              <a:off x="185720" y="2165086"/>
              <a:ext cx="11828200" cy="4153700"/>
              <a:chOff x="185720" y="2165086"/>
              <a:chExt cx="11828200" cy="4153700"/>
            </a:xfrm>
          </p:grpSpPr>
          <p:sp>
            <p:nvSpPr>
              <p:cNvPr id="9284" name="Google Shape;9284;g3c5b803b16c_1_12">
                <a:extLst>
                  <a:ext uri="{FF2B5EF4-FFF2-40B4-BE49-F238E27FC236}">
                    <a16:creationId xmlns:a16="http://schemas.microsoft.com/office/drawing/2014/main" id="{D55DADC2-1908-DA4C-D8D9-B4C31343A3AC}"/>
                  </a:ext>
                </a:extLst>
              </p:cNvPr>
              <p:cNvSpPr txBox="1"/>
              <p:nvPr/>
            </p:nvSpPr>
            <p:spPr>
              <a:xfrm>
                <a:off x="1904999" y="4910666"/>
                <a:ext cx="24552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85" name="Google Shape;9285;g3c5b803b16c_1_12">
                <a:extLst>
                  <a:ext uri="{FF2B5EF4-FFF2-40B4-BE49-F238E27FC236}">
                    <a16:creationId xmlns:a16="http://schemas.microsoft.com/office/drawing/2014/main" id="{AB7C57F5-C996-F154-A6EC-E5777A0723EA}"/>
                  </a:ext>
                </a:extLst>
              </p:cNvPr>
              <p:cNvSpPr txBox="1"/>
              <p:nvPr/>
            </p:nvSpPr>
            <p:spPr>
              <a:xfrm>
                <a:off x="1529267" y="4124209"/>
                <a:ext cx="28455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86" name="Google Shape;9286;g3c5b803b16c_1_12">
                <a:extLst>
                  <a:ext uri="{FF2B5EF4-FFF2-40B4-BE49-F238E27FC236}">
                    <a16:creationId xmlns:a16="http://schemas.microsoft.com/office/drawing/2014/main" id="{33629940-26EC-489A-4411-FD8CDD986618}"/>
                  </a:ext>
                </a:extLst>
              </p:cNvPr>
              <p:cNvSpPr/>
              <p:nvPr/>
            </p:nvSpPr>
            <p:spPr>
              <a:xfrm>
                <a:off x="185720" y="3955282"/>
                <a:ext cx="5910300" cy="946800"/>
              </a:xfrm>
              <a:prstGeom prst="roundRect">
                <a:avLst>
                  <a:gd name="adj" fmla="val 16667"/>
                </a:avLst>
              </a:prstGeom>
              <a:solidFill>
                <a:schemeClr val="accent2"/>
              </a:solidFill>
              <a:ln w="57150" cap="flat" cmpd="sng">
                <a:solidFill>
                  <a:srgbClr val="92D05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US" sz="2000" b="0" i="0" u="none" strike="noStrike" cap="none" dirty="0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Equity and Safe Sleep for Infants</a:t>
                </a:r>
                <a:endParaRPr sz="2000" b="0" i="0" u="none" strike="noStrike" cap="none" dirty="0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  <p:sp>
            <p:nvSpPr>
              <p:cNvPr id="9287" name="Google Shape;9287;g3c5b803b16c_1_12">
                <a:extLst>
                  <a:ext uri="{FF2B5EF4-FFF2-40B4-BE49-F238E27FC236}">
                    <a16:creationId xmlns:a16="http://schemas.microsoft.com/office/drawing/2014/main" id="{9283917A-E097-2569-365D-7560D3C6E62B}"/>
                  </a:ext>
                </a:extLst>
              </p:cNvPr>
              <p:cNvSpPr/>
              <p:nvPr/>
            </p:nvSpPr>
            <p:spPr>
              <a:xfrm>
                <a:off x="6236195" y="3952521"/>
                <a:ext cx="3628800" cy="946800"/>
              </a:xfrm>
              <a:prstGeom prst="roundRect">
                <a:avLst>
                  <a:gd name="adj" fmla="val 16667"/>
                </a:avLst>
              </a:prstGeom>
              <a:solidFill>
                <a:schemeClr val="accent2"/>
              </a:solidFill>
              <a:ln w="57150" cap="flat" cmpd="sng">
                <a:solidFill>
                  <a:srgbClr val="92D05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US" sz="2000" b="0" i="0" u="none" strike="noStrike" cap="none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ESSI Sustainability</a:t>
                </a:r>
                <a:endParaRPr sz="2000" b="0" i="0" u="none" strike="noStrike" cap="none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  <p:sp>
            <p:nvSpPr>
              <p:cNvPr id="9288" name="Google Shape;9288;g3c5b803b16c_1_12">
                <a:extLst>
                  <a:ext uri="{FF2B5EF4-FFF2-40B4-BE49-F238E27FC236}">
                    <a16:creationId xmlns:a16="http://schemas.microsoft.com/office/drawing/2014/main" id="{4044051F-68DE-4AD4-54BB-260802CC5A6F}"/>
                  </a:ext>
                </a:extLst>
              </p:cNvPr>
              <p:cNvSpPr/>
              <p:nvPr/>
            </p:nvSpPr>
            <p:spPr>
              <a:xfrm>
                <a:off x="225257" y="5012360"/>
                <a:ext cx="3901500" cy="668700"/>
              </a:xfrm>
              <a:prstGeom prst="roundRect">
                <a:avLst>
                  <a:gd name="adj" fmla="val 16667"/>
                </a:avLst>
              </a:prstGeom>
              <a:solidFill>
                <a:srgbClr val="5189DD"/>
              </a:solidFill>
              <a:ln w="127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800" b="0" i="0" u="none" strike="noStrike" cap="none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2025</a:t>
                </a:r>
                <a:endParaRPr sz="1400" b="0" i="0" u="none" strike="noStrike" cap="none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  <p:sp>
            <p:nvSpPr>
              <p:cNvPr id="9289" name="Google Shape;9289;g3c5b803b16c_1_12">
                <a:extLst>
                  <a:ext uri="{FF2B5EF4-FFF2-40B4-BE49-F238E27FC236}">
                    <a16:creationId xmlns:a16="http://schemas.microsoft.com/office/drawing/2014/main" id="{DFD92CFE-7BB4-BB12-58C8-B232AC6B112F}"/>
                  </a:ext>
                </a:extLst>
              </p:cNvPr>
              <p:cNvSpPr/>
              <p:nvPr/>
            </p:nvSpPr>
            <p:spPr>
              <a:xfrm>
                <a:off x="4126698" y="4996685"/>
                <a:ext cx="3938700" cy="668700"/>
              </a:xfrm>
              <a:prstGeom prst="roundRect">
                <a:avLst>
                  <a:gd name="adj" fmla="val 16667"/>
                </a:avLst>
              </a:prstGeom>
              <a:solidFill>
                <a:srgbClr val="5189DD"/>
              </a:solidFill>
              <a:ln w="127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800" b="0" i="0" u="none" strike="noStrike" cap="none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2026</a:t>
                </a:r>
                <a:endParaRPr sz="1400" b="0" i="0" u="none" strike="noStrike" cap="none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  <p:sp>
            <p:nvSpPr>
              <p:cNvPr id="9290" name="Google Shape;9290;g3c5b803b16c_1_12">
                <a:extLst>
                  <a:ext uri="{FF2B5EF4-FFF2-40B4-BE49-F238E27FC236}">
                    <a16:creationId xmlns:a16="http://schemas.microsoft.com/office/drawing/2014/main" id="{5A89768F-3483-756B-7DDB-CAAB59BEBEEB}"/>
                  </a:ext>
                </a:extLst>
              </p:cNvPr>
              <p:cNvSpPr/>
              <p:nvPr/>
            </p:nvSpPr>
            <p:spPr>
              <a:xfrm>
                <a:off x="4172457" y="5730186"/>
                <a:ext cx="3874263" cy="588600"/>
              </a:xfrm>
              <a:prstGeom prst="roundRect">
                <a:avLst>
                  <a:gd name="adj" fmla="val 16667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 w="12700" cap="flat" cmpd="sng">
                <a:solidFill>
                  <a:srgbClr val="F5846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400"/>
                  <a:buFont typeface="Arial"/>
                  <a:buNone/>
                </a:pPr>
                <a:r>
                  <a:rPr lang="en-US" sz="1600" b="0" i="0" u="none" strike="noStrike" cap="none" dirty="0">
                    <a:solidFill>
                      <a:srgbClr val="000000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Planning for IL-LPI</a:t>
                </a:r>
                <a:endParaRPr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91" name="Google Shape;9291;g3c5b803b16c_1_12">
                <a:extLst>
                  <a:ext uri="{FF2B5EF4-FFF2-40B4-BE49-F238E27FC236}">
                    <a16:creationId xmlns:a16="http://schemas.microsoft.com/office/drawing/2014/main" id="{90FB88D3-F07D-E4CA-32BB-3B3ECCCF22BD}"/>
                  </a:ext>
                </a:extLst>
              </p:cNvPr>
              <p:cNvSpPr/>
              <p:nvPr/>
            </p:nvSpPr>
            <p:spPr>
              <a:xfrm>
                <a:off x="4781870" y="2763723"/>
                <a:ext cx="1721700" cy="1141500"/>
              </a:xfrm>
              <a:prstGeom prst="downArrow">
                <a:avLst>
                  <a:gd name="adj1" fmla="val 50000"/>
                  <a:gd name="adj2" fmla="val 50000"/>
                </a:avLst>
              </a:prstGeom>
              <a:noFill/>
              <a:ln w="2857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600"/>
                  <a:buFont typeface="Arial"/>
                  <a:buNone/>
                </a:pPr>
                <a:r>
                  <a:rPr lang="en-US" sz="1600" b="1" i="0" u="none" strike="noStrike" cap="none" dirty="0">
                    <a:solidFill>
                      <a:srgbClr val="1C498B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You are here</a:t>
                </a:r>
                <a:endParaRPr sz="16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9292" name="Google Shape;9292;g3c5b803b16c_1_12">
                <a:extLst>
                  <a:ext uri="{FF2B5EF4-FFF2-40B4-BE49-F238E27FC236}">
                    <a16:creationId xmlns:a16="http://schemas.microsoft.com/office/drawing/2014/main" id="{54DF1C2C-D897-E3F7-BCAC-85958269D146}"/>
                  </a:ext>
                </a:extLst>
              </p:cNvPr>
              <p:cNvCxnSpPr>
                <a:stCxn id="9293" idx="2"/>
              </p:cNvCxnSpPr>
              <p:nvPr/>
            </p:nvCxnSpPr>
            <p:spPr>
              <a:xfrm flipH="1">
                <a:off x="6176122" y="2719186"/>
                <a:ext cx="9600" cy="2202900"/>
              </a:xfrm>
              <a:prstGeom prst="straightConnector1">
                <a:avLst/>
              </a:prstGeom>
              <a:noFill/>
              <a:ln w="28575" cap="flat" cmpd="sng">
                <a:solidFill>
                  <a:srgbClr val="EF1453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9293" name="Google Shape;9293;g3c5b803b16c_1_12">
                <a:extLst>
                  <a:ext uri="{FF2B5EF4-FFF2-40B4-BE49-F238E27FC236}">
                    <a16:creationId xmlns:a16="http://schemas.microsoft.com/office/drawing/2014/main" id="{9A0368A6-879A-9387-BD47-721324E97506}"/>
                  </a:ext>
                </a:extLst>
              </p:cNvPr>
              <p:cNvSpPr txBox="1"/>
              <p:nvPr/>
            </p:nvSpPr>
            <p:spPr>
              <a:xfrm>
                <a:off x="4961122" y="2165086"/>
                <a:ext cx="2449200" cy="554100"/>
              </a:xfrm>
              <a:prstGeom prst="rect">
                <a:avLst/>
              </a:prstGeom>
              <a:noFill/>
              <a:ln w="28575" cap="flat" cmpd="sng">
                <a:solidFill>
                  <a:srgbClr val="F86A9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00"/>
                  <a:buFont typeface="Arial"/>
                  <a:buNone/>
                </a:pPr>
                <a:r>
                  <a:rPr lang="en-US" sz="1500" b="0" i="0" u="none" strike="noStrike" cap="none">
                    <a:solidFill>
                      <a:srgbClr val="444C55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Face-to-Face 2026: </a:t>
                </a: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00"/>
                  <a:buFont typeface="Arial"/>
                  <a:buNone/>
                </a:pPr>
                <a:r>
                  <a:rPr lang="en-US" sz="1500" b="0" i="0" u="none" strike="noStrike" cap="none">
                    <a:solidFill>
                      <a:srgbClr val="444C55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ESSI enters sustainability</a:t>
                </a:r>
                <a:endParaRPr sz="15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94" name="Google Shape;9294;g3c5b803b16c_1_12">
                <a:extLst>
                  <a:ext uri="{FF2B5EF4-FFF2-40B4-BE49-F238E27FC236}">
                    <a16:creationId xmlns:a16="http://schemas.microsoft.com/office/drawing/2014/main" id="{32234D74-230E-DFEF-7AFB-3F18E4EDA514}"/>
                  </a:ext>
                </a:extLst>
              </p:cNvPr>
              <p:cNvSpPr/>
              <p:nvPr/>
            </p:nvSpPr>
            <p:spPr>
              <a:xfrm>
                <a:off x="8046720" y="4988939"/>
                <a:ext cx="3967200" cy="668700"/>
              </a:xfrm>
              <a:prstGeom prst="roundRect">
                <a:avLst>
                  <a:gd name="adj" fmla="val 16667"/>
                </a:avLst>
              </a:prstGeom>
              <a:solidFill>
                <a:srgbClr val="5189DD"/>
              </a:solidFill>
              <a:ln w="127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800" b="0" i="0" u="none" strike="noStrike" cap="none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2027</a:t>
                </a:r>
                <a:endParaRPr sz="1400" b="0" i="0" u="none" strike="noStrike" cap="none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  <p:sp>
            <p:nvSpPr>
              <p:cNvPr id="9295" name="Google Shape;9295;g3c5b803b16c_1_12">
                <a:extLst>
                  <a:ext uri="{FF2B5EF4-FFF2-40B4-BE49-F238E27FC236}">
                    <a16:creationId xmlns:a16="http://schemas.microsoft.com/office/drawing/2014/main" id="{A21D3789-9BC5-7C6E-2ABF-603BC8542FD1}"/>
                  </a:ext>
                </a:extLst>
              </p:cNvPr>
              <p:cNvSpPr/>
              <p:nvPr/>
            </p:nvSpPr>
            <p:spPr>
              <a:xfrm>
                <a:off x="8046720" y="2941033"/>
                <a:ext cx="3967200" cy="946800"/>
              </a:xfrm>
              <a:prstGeom prst="homePlate">
                <a:avLst>
                  <a:gd name="adj" fmla="val 50000"/>
                </a:avLst>
              </a:prstGeom>
              <a:solidFill>
                <a:srgbClr val="F58466"/>
              </a:solidFill>
              <a:ln w="57150" cap="flat" cmpd="sng">
                <a:solidFill>
                  <a:srgbClr val="92D05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US" sz="2000" dirty="0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Care of the Late Preterm Infant</a:t>
                </a:r>
                <a:endParaRPr sz="2000" b="0" i="0" u="none" strike="noStrike" cap="none" dirty="0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</p:grpSp>
      </p:grpSp>
      <p:sp>
        <p:nvSpPr>
          <p:cNvPr id="2" name="Google Shape;9290;g3c5b803b16c_1_12">
            <a:extLst>
              <a:ext uri="{FF2B5EF4-FFF2-40B4-BE49-F238E27FC236}">
                <a16:creationId xmlns:a16="http://schemas.microsoft.com/office/drawing/2014/main" id="{A750C0A4-4B6C-2900-9FF6-5A5BE7761EAF}"/>
              </a:ext>
            </a:extLst>
          </p:cNvPr>
          <p:cNvSpPr/>
          <p:nvPr/>
        </p:nvSpPr>
        <p:spPr>
          <a:xfrm>
            <a:off x="6413885" y="5541086"/>
            <a:ext cx="3451087" cy="588600"/>
          </a:xfrm>
          <a:prstGeom prst="roundRect">
            <a:avLst>
              <a:gd name="adj" fmla="val 16667"/>
            </a:avLst>
          </a:prstGeom>
          <a:solidFill>
            <a:schemeClr val="accent3">
              <a:lumMod val="40000"/>
              <a:lumOff val="60000"/>
            </a:schemeClr>
          </a:solidFill>
          <a:ln w="12700" cap="flat" cmpd="sng">
            <a:solidFill>
              <a:srgbClr val="F584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000000"/>
                </a:solidFill>
                <a:latin typeface="DM Sans"/>
                <a:ea typeface="DM Sans"/>
                <a:cs typeface="DM Sans"/>
                <a:sym typeface="DM Sans"/>
              </a:rPr>
              <a:t>Planning for </a:t>
            </a:r>
            <a:r>
              <a:rPr lang="en-US" sz="1600" dirty="0">
                <a:latin typeface="DM Sans"/>
                <a:ea typeface="DM Sans"/>
                <a:cs typeface="DM Sans"/>
                <a:sym typeface="DM Sans"/>
              </a:rPr>
              <a:t>Perinatal Mental Health in NICU/SCN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9295;g3c5b803b16c_1_12">
            <a:extLst>
              <a:ext uri="{FF2B5EF4-FFF2-40B4-BE49-F238E27FC236}">
                <a16:creationId xmlns:a16="http://schemas.microsoft.com/office/drawing/2014/main" id="{D5172A60-DD81-69D9-3EA5-662E2233AAC7}"/>
              </a:ext>
            </a:extLst>
          </p:cNvPr>
          <p:cNvSpPr/>
          <p:nvPr/>
        </p:nvSpPr>
        <p:spPr>
          <a:xfrm>
            <a:off x="9864972" y="966676"/>
            <a:ext cx="2059263" cy="946800"/>
          </a:xfrm>
          <a:prstGeom prst="homePlate">
            <a:avLst>
              <a:gd name="adj" fmla="val 50000"/>
            </a:avLst>
          </a:prstGeom>
          <a:solidFill>
            <a:schemeClr val="accent3"/>
          </a:solidFill>
          <a:ln w="57150" cap="flat" cmpd="sng">
            <a:solidFill>
              <a:srgbClr val="92D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rgbClr val="FFFFFF"/>
                </a:solidFill>
                <a:latin typeface="DM Sans"/>
                <a:ea typeface="DM Sans"/>
                <a:cs typeface="DM Sans"/>
                <a:sym typeface="DM Sans"/>
              </a:rPr>
              <a:t>Perinatal Mental Health</a:t>
            </a:r>
            <a:endParaRPr sz="2000" b="0" i="0" u="none" strike="noStrike" cap="none" dirty="0">
              <a:solidFill>
                <a:srgbClr val="000000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29439686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outline of the state of illinois&#10;&#10;AI-generated content may be incorrect.">
            <a:extLst>
              <a:ext uri="{FF2B5EF4-FFF2-40B4-BE49-F238E27FC236}">
                <a16:creationId xmlns:a16="http://schemas.microsoft.com/office/drawing/2014/main" id="{155DDFE3-4A18-8EA8-DAE1-C09F48270A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075" y="1192775"/>
            <a:ext cx="4295381" cy="56170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8F1A38F-8929-FCD5-7485-61D3651D4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041" y="369120"/>
            <a:ext cx="11188443" cy="1325563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 The Illinois Late Preterm Infant Initiative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B1A9EF-19FD-51AF-BEEB-3527C5DE99D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342900" lvl="0" indent="-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Late preterm infants, born at </a:t>
            </a:r>
            <a:r>
              <a:rPr lang="en-US" sz="18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34–36 6/7 weeks gestation</a:t>
            </a: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, often appear full term but experience </a:t>
            </a:r>
            <a:r>
              <a:rPr lang="en-US" sz="18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physiologic and metabolic immaturity</a:t>
            </a: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that places them at higher risk for short-term complications of prematurity including:</a:t>
            </a:r>
            <a:endParaRPr lang="en-US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800100" lvl="1" indent="-342900"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Temperature instability 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Weight loss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Feeding difficulty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Hyperbilirubinemia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Hypoglycemia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Respiratory instability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Readmission</a:t>
            </a:r>
          </a:p>
          <a:p>
            <a:pPr marL="342900" lvl="0" indent="-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LPIs </a:t>
            </a:r>
            <a:r>
              <a:rPr lang="en-US" sz="18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3-4x more likely to die of SUID</a:t>
            </a:r>
            <a:r>
              <a:rPr lang="en-US" sz="18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than term babies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B75456-0F80-1013-8CC7-D9AA69DFA06B}"/>
              </a:ext>
            </a:extLst>
          </p:cNvPr>
          <p:cNvSpPr txBox="1"/>
          <p:nvPr/>
        </p:nvSpPr>
        <p:spPr>
          <a:xfrm>
            <a:off x="8457093" y="3268983"/>
            <a:ext cx="18013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9,785 </a:t>
            </a:r>
          </a:p>
          <a:p>
            <a:pPr algn="ctr"/>
            <a:r>
              <a:rPr lang="en-US" sz="24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LPI babies in 2023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331A99-A175-D05E-4769-62AB5D614242}"/>
              </a:ext>
            </a:extLst>
          </p:cNvPr>
          <p:cNvSpPr txBox="1"/>
          <p:nvPr/>
        </p:nvSpPr>
        <p:spPr>
          <a:xfrm>
            <a:off x="8324751" y="6043612"/>
            <a:ext cx="25620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7.8% of live birth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6618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87" name="Google Shape;14487;p27"/>
          <p:cNvSpPr txBox="1">
            <a:spLocks noGrp="1"/>
          </p:cNvSpPr>
          <p:nvPr>
            <p:ph type="title"/>
          </p:nvPr>
        </p:nvSpPr>
        <p:spPr>
          <a:xfrm>
            <a:off x="414600" y="383615"/>
            <a:ext cx="11167800" cy="677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4400" dirty="0">
                <a:solidFill>
                  <a:schemeClr val="bg2"/>
                </a:solidFill>
                <a:latin typeface="DM Sans"/>
                <a:ea typeface="DM Sans"/>
                <a:cs typeface="DM Sans"/>
                <a:sym typeface="DM Sans"/>
              </a:rPr>
              <a:t>Care for the Late Preterm Infant</a:t>
            </a:r>
            <a:endParaRPr lang="en-US" sz="4400" dirty="0">
              <a:solidFill>
                <a:schemeClr val="bg2"/>
              </a:solidFill>
            </a:endParaRPr>
          </a:p>
        </p:txBody>
      </p:sp>
      <p:sp>
        <p:nvSpPr>
          <p:cNvPr id="14488" name="Google Shape;14488;p27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fld id="{00000000-1234-1234-1234-123412341234}" type="slidenum">
              <a:rPr lang="en-US">
                <a:latin typeface="DM Sans"/>
                <a:ea typeface="DM Sans"/>
                <a:cs typeface="DM Sans"/>
                <a:sym typeface="DM Sans"/>
              </a:rPr>
              <a:t>5</a:t>
            </a:fld>
            <a:endParaRPr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14489" name="Google Shape;14489;p27"/>
          <p:cNvSpPr txBox="1">
            <a:spLocks noGrp="1"/>
          </p:cNvSpPr>
          <p:nvPr>
            <p:ph type="body" idx="1"/>
          </p:nvPr>
        </p:nvSpPr>
        <p:spPr>
          <a:xfrm>
            <a:off x="431061" y="1432745"/>
            <a:ext cx="10765319" cy="5247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indent="-342900">
              <a:buSzPts val="2400"/>
              <a:buFont typeface="Arial" panose="020B0604020202020204" pitchFamily="34" charset="0"/>
              <a:buChar char="•"/>
            </a:pPr>
            <a:r>
              <a:rPr lang="en-US" sz="2400" b="1" dirty="0">
                <a:latin typeface="DM Sans"/>
                <a:ea typeface="DM Sans"/>
                <a:cs typeface="DM Sans"/>
                <a:sym typeface="DM Sans"/>
              </a:rPr>
              <a:t>Late preterm infants are a distinct, high-risk population that is often overlooked.</a:t>
            </a:r>
          </a:p>
          <a:p>
            <a:pPr marL="800100" lvl="1" indent="-342900">
              <a:buSzPts val="2400"/>
              <a:buFont typeface="Arial" panose="020B0604020202020204" pitchFamily="34" charset="0"/>
              <a:buChar char="•"/>
            </a:pPr>
            <a:r>
              <a:rPr lang="en-US" sz="2400" dirty="0">
                <a:latin typeface="DM Sans"/>
                <a:ea typeface="DM Sans"/>
                <a:cs typeface="DM Sans"/>
                <a:sym typeface="DM Sans"/>
              </a:rPr>
              <a:t>Although they may appear developmentally similar to term infants, they have unique vulnerabilities that require intentional, coordinated care.</a:t>
            </a:r>
          </a:p>
          <a:p>
            <a:pPr marL="342900" lvl="0" indent="-342900">
              <a:buSzPts val="2400"/>
              <a:buFont typeface="Arial" panose="020B0604020202020204" pitchFamily="34" charset="0"/>
              <a:buChar char="•"/>
            </a:pPr>
            <a:endParaRPr lang="en-US" sz="2400" dirty="0">
              <a:latin typeface="DM Sans"/>
              <a:ea typeface="DM Sans"/>
              <a:cs typeface="DM Sans"/>
              <a:sym typeface="DM Sans"/>
            </a:endParaRPr>
          </a:p>
          <a:p>
            <a:pPr marL="342900" lvl="0" indent="-342900">
              <a:buSzPts val="2400"/>
              <a:buFont typeface="Arial" panose="020B0604020202020204" pitchFamily="34" charset="0"/>
              <a:buChar char="•"/>
            </a:pPr>
            <a:r>
              <a:rPr lang="en-US" sz="2400" dirty="0"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2400" b="1" dirty="0">
                <a:latin typeface="DM Sans"/>
                <a:ea typeface="DM Sans"/>
                <a:cs typeface="DM Sans"/>
                <a:sym typeface="DM Sans"/>
              </a:rPr>
              <a:t>Despite well-described risks, care remains variable.</a:t>
            </a:r>
            <a:endParaRPr lang="en-US" sz="24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800100" lvl="1" indent="-342900">
              <a:buClr>
                <a:schemeClr val="dk1"/>
              </a:buClr>
              <a:buSzPts val="2400"/>
              <a:buFont typeface="Arial" panose="020B0604020202020204" pitchFamily="34" charset="0"/>
              <a:buChar char="•"/>
            </a:pPr>
            <a:r>
              <a:rPr lang="en-US" sz="2400" dirty="0">
                <a:latin typeface="DM Sans"/>
                <a:ea typeface="DM Sans"/>
                <a:cs typeface="DM Sans"/>
                <a:sym typeface="DM Sans"/>
              </a:rPr>
              <a:t>National guidance acknowledges risk, but operational guidance is inconsistent.</a:t>
            </a:r>
          </a:p>
          <a:p>
            <a:pPr marL="0" lvl="0" indent="0">
              <a:buSzPts val="2400"/>
            </a:pPr>
            <a:endParaRPr lang="en-US" sz="2400" b="1" dirty="0">
              <a:latin typeface="DM Sans"/>
              <a:ea typeface="DM Sans"/>
              <a:cs typeface="DM Sans"/>
              <a:sym typeface="DM Sans"/>
            </a:endParaRPr>
          </a:p>
          <a:p>
            <a:pPr marL="342900" lvl="0" indent="-342900">
              <a:buClr>
                <a:schemeClr val="dk1"/>
              </a:buClr>
              <a:buSzPts val="2400"/>
              <a:buFont typeface="Arial" panose="020B0604020202020204" pitchFamily="34" charset="0"/>
              <a:buChar char="•"/>
            </a:pPr>
            <a:r>
              <a:rPr lang="en-US" sz="2400" b="1" dirty="0">
                <a:latin typeface="DM Sans"/>
                <a:ea typeface="DM Sans"/>
                <a:cs typeface="DM Sans"/>
                <a:sym typeface="DM Sans"/>
              </a:rPr>
              <a:t>As a result, care practices are inconsistent and not standardized.</a:t>
            </a:r>
          </a:p>
          <a:p>
            <a:pPr marL="800100" lvl="1" indent="-342900">
              <a:buClr>
                <a:schemeClr val="dk1"/>
              </a:buClr>
              <a:buSzPts val="2400"/>
              <a:buFont typeface="Arial" panose="020B0604020202020204" pitchFamily="34" charset="0"/>
              <a:buChar char="•"/>
            </a:pPr>
            <a:r>
              <a:rPr lang="en-US" sz="2400" dirty="0">
                <a:latin typeface="DM Sans"/>
                <a:ea typeface="DM Sans"/>
                <a:cs typeface="DM Sans"/>
                <a:sym typeface="DM Sans"/>
              </a:rPr>
              <a:t>Approaches differ by nursery level, hospital type, and available resources - contributing to inconsistent care for an at-risk population</a:t>
            </a:r>
          </a:p>
          <a:p>
            <a:pPr marL="0" lvl="0" indent="0">
              <a:buClr>
                <a:schemeClr val="dk1"/>
              </a:buClr>
              <a:buSzPts val="2400"/>
            </a:pPr>
            <a:endParaRPr lang="en-US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</a:pPr>
            <a:endParaRPr dirty="0">
              <a:latin typeface="DM Sans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084" y="275160"/>
            <a:ext cx="10972800" cy="677108"/>
          </a:xfrm>
        </p:spPr>
        <p:txBody>
          <a:bodyPr/>
          <a:lstStyle/>
          <a:p>
            <a:r>
              <a:rPr lang="en-US" sz="4400" dirty="0">
                <a:solidFill>
                  <a:schemeClr val="bg2"/>
                </a:solidFill>
                <a:latin typeface="DM Sans"/>
              </a:rPr>
              <a:t>IL-LPI Timeline</a:t>
            </a:r>
            <a:endParaRPr lang="en-US" sz="4400" dirty="0">
              <a:solidFill>
                <a:schemeClr val="bg2"/>
              </a:solidFill>
              <a:latin typeface="DM Sans" pitchFamily="2" charset="77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45089539"/>
              </p:ext>
            </p:extLst>
          </p:nvPr>
        </p:nvGraphicFramePr>
        <p:xfrm>
          <a:off x="603455" y="1237128"/>
          <a:ext cx="10985090" cy="24164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3091302"/>
              </p:ext>
            </p:extLst>
          </p:nvPr>
        </p:nvGraphicFramePr>
        <p:xfrm>
          <a:off x="877747" y="4095971"/>
          <a:ext cx="10972800" cy="231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0369462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7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5" name="Google Shape;13725;p2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26" name="Google Shape;13726;p28"/>
          <p:cNvSpPr/>
          <p:nvPr/>
        </p:nvSpPr>
        <p:spPr>
          <a:xfrm>
            <a:off x="0" y="1"/>
            <a:ext cx="7438768" cy="6857999"/>
          </a:xfrm>
          <a:prstGeom prst="rect">
            <a:avLst/>
          </a:prstGeom>
          <a:solidFill>
            <a:srgbClr val="F2DADA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27" name="Google Shape;13727;p28"/>
          <p:cNvSpPr txBox="1">
            <a:spLocks noGrp="1"/>
          </p:cNvSpPr>
          <p:nvPr>
            <p:ph type="title"/>
          </p:nvPr>
        </p:nvSpPr>
        <p:spPr>
          <a:xfrm>
            <a:off x="1028700" y="375933"/>
            <a:ext cx="5557837" cy="1821459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txBody>
          <a:bodyPr spcFirstLastPara="1" wrap="square" lIns="0" tIns="0" rIns="0" bIns="0" anchor="b" anchorCtr="0">
            <a:norm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3600" dirty="0">
                <a:solidFill>
                  <a:srgbClr val="595959"/>
                </a:solidFill>
                <a:latin typeface="DM Sans"/>
                <a:ea typeface="DM Sans"/>
                <a:cs typeface="DM Sans"/>
                <a:sym typeface="DM Sans"/>
              </a:rPr>
              <a:t>A chance to affect ~10,000 babies a year in Illinois</a:t>
            </a:r>
            <a:endParaRPr sz="3600" dirty="0">
              <a:solidFill>
                <a:srgbClr val="595959"/>
              </a:solidFill>
            </a:endParaRPr>
          </a:p>
        </p:txBody>
      </p:sp>
      <p:sp>
        <p:nvSpPr>
          <p:cNvPr id="13728" name="Google Shape;13728;p28"/>
          <p:cNvSpPr txBox="1">
            <a:spLocks noGrp="1"/>
          </p:cNvSpPr>
          <p:nvPr>
            <p:ph type="body" idx="1"/>
          </p:nvPr>
        </p:nvSpPr>
        <p:spPr>
          <a:xfrm>
            <a:off x="268223" y="2633938"/>
            <a:ext cx="6846951" cy="43695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22860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en-US" sz="2800" dirty="0">
              <a:solidFill>
                <a:srgbClr val="595959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2800" dirty="0">
                <a:solidFill>
                  <a:srgbClr val="595959"/>
                </a:solidFill>
                <a:latin typeface="DM Sans"/>
                <a:ea typeface="DM Sans"/>
                <a:cs typeface="DM Sans"/>
                <a:sym typeface="DM Sans"/>
              </a:rPr>
              <a:t>Care of babies born during the late preterm period represents a strong QI opportunity:</a:t>
            </a:r>
          </a:p>
          <a:p>
            <a:pPr marL="22860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2400" dirty="0">
              <a:latin typeface="DM Sans"/>
              <a:ea typeface="DM Sans"/>
              <a:cs typeface="DM Sans"/>
              <a:sym typeface="DM Sans"/>
            </a:endParaRPr>
          </a:p>
          <a:p>
            <a:pPr marL="457200" lvl="0" indent="-2286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400"/>
              <a:buChar char="•"/>
            </a:pPr>
            <a:r>
              <a:rPr lang="en-US" sz="2400" dirty="0">
                <a:solidFill>
                  <a:srgbClr val="595959"/>
                </a:solidFill>
                <a:latin typeface="DM Sans"/>
                <a:ea typeface="DM Sans"/>
                <a:cs typeface="DM Sans"/>
                <a:sym typeface="DM Sans"/>
              </a:rPr>
              <a:t>Risks are well-described and predictable</a:t>
            </a:r>
            <a:endParaRPr sz="2000" dirty="0"/>
          </a:p>
          <a:p>
            <a:pPr marL="457200" lvl="0" indent="-2286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400"/>
              <a:buChar char="•"/>
            </a:pPr>
            <a:r>
              <a:rPr lang="en-US" sz="2400" dirty="0">
                <a:solidFill>
                  <a:srgbClr val="595959"/>
                </a:solidFill>
                <a:latin typeface="DM Sans"/>
                <a:ea typeface="DM Sans"/>
                <a:cs typeface="DM Sans"/>
                <a:sym typeface="DM Sans"/>
              </a:rPr>
              <a:t>Gaps relate to process variation, not lack of knowledge</a:t>
            </a:r>
            <a:endParaRPr sz="2000" dirty="0"/>
          </a:p>
          <a:p>
            <a:pPr marL="457200" lvl="0" indent="-2286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400"/>
              <a:buChar char="•"/>
            </a:pPr>
            <a:r>
              <a:rPr lang="en-US" sz="2400" dirty="0">
                <a:solidFill>
                  <a:srgbClr val="595959"/>
                </a:solidFill>
                <a:latin typeface="DM Sans"/>
                <a:ea typeface="DM Sans"/>
                <a:cs typeface="DM Sans"/>
                <a:sym typeface="DM Sans"/>
              </a:rPr>
              <a:t>Improvements often involve standardization</a:t>
            </a:r>
            <a:endParaRPr sz="2400" dirty="0">
              <a:solidFill>
                <a:srgbClr val="595959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457200" lvl="0" indent="-2286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400"/>
              <a:buChar char="•"/>
            </a:pPr>
            <a:r>
              <a:rPr lang="en-US" sz="2400" dirty="0">
                <a:solidFill>
                  <a:srgbClr val="595959"/>
                </a:solidFill>
                <a:latin typeface="DM Sans"/>
                <a:ea typeface="DM Sans"/>
                <a:cs typeface="DM Sans"/>
                <a:sym typeface="DM Sans"/>
              </a:rPr>
              <a:t>Small changes can have meaningful impact</a:t>
            </a:r>
            <a:endParaRPr sz="2000" dirty="0"/>
          </a:p>
          <a:p>
            <a:pPr marL="571500" lvl="0" indent="-254000" algn="ctr" rtl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ts val="1400"/>
              <a:buNone/>
            </a:pPr>
            <a:endParaRPr sz="2000" b="1" dirty="0">
              <a:solidFill>
                <a:srgbClr val="595959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13730" name="Google Shape;13730;p28" descr="A brown smoke on a black background&#10;&#10;AI-generated content may be incorrect.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58383" y="685801"/>
            <a:ext cx="2921507" cy="5486400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3731" name="Google Shape;13731;p28"/>
          <p:cNvSpPr txBox="1">
            <a:spLocks noGrp="1"/>
          </p:cNvSpPr>
          <p:nvPr>
            <p:ph type="sldNum" idx="12"/>
          </p:nvPr>
        </p:nvSpPr>
        <p:spPr>
          <a:xfrm>
            <a:off x="9180576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ts val="1800"/>
              <a:buNone/>
            </a:pPr>
            <a:fld id="{00000000-1234-1234-1234-123412341234}" type="slidenum">
              <a:rPr lang="en-US" sz="900">
                <a:latin typeface="DM Sans"/>
                <a:ea typeface="DM Sans"/>
                <a:cs typeface="DM Sans"/>
                <a:sym typeface="DM Sans"/>
              </a:rPr>
              <a:t>7</a:t>
            </a:fld>
            <a:endParaRPr sz="900">
              <a:latin typeface="DM Sans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B86475-A39F-DAA2-9A4F-D17F71471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BD231-91CB-558D-9D71-613602635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4203" y="2766144"/>
            <a:ext cx="8629290" cy="1325563"/>
          </a:xfrm>
        </p:spPr>
        <p:txBody>
          <a:bodyPr/>
          <a:lstStyle/>
          <a:p>
            <a:r>
              <a:rPr lang="en-US" sz="4800" dirty="0">
                <a:latin typeface="DM Sans"/>
                <a:ea typeface="Lato Medium"/>
                <a:cs typeface="Arial"/>
              </a:rPr>
              <a:t>IL-LPI Aims and </a:t>
            </a:r>
            <a:r>
              <a:rPr lang="en-US" dirty="0">
                <a:latin typeface="DM Sans"/>
                <a:ea typeface="Lato Medium"/>
                <a:cs typeface="Arial"/>
              </a:rPr>
              <a:t>Drivers</a:t>
            </a:r>
            <a:endParaRPr lang="en-US" dirty="0">
              <a:latin typeface="DM Sans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5B1FAA-5538-2C08-3FC4-B395D568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D50EBF-D275-87E9-ECB4-C47FFCF98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9" name="Picture 8" descr="A corner of flowers and leaves&#10;&#10;AI-generated content may be incorrect.">
            <a:extLst>
              <a:ext uri="{FF2B5EF4-FFF2-40B4-BE49-F238E27FC236}">
                <a16:creationId xmlns:a16="http://schemas.microsoft.com/office/drawing/2014/main" id="{47770C54-7D53-8ECB-3DB8-0E5882720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09192" y="136524"/>
            <a:ext cx="4426789" cy="4427328"/>
          </a:xfrm>
          <a:prstGeom prst="rect">
            <a:avLst/>
          </a:prstGeom>
        </p:spPr>
      </p:pic>
      <p:sp>
        <p:nvSpPr>
          <p:cNvPr id="11" name="Freeform 14" descr="A close-up of flowers in grass&#10;&#10;AI-generated content may be incorrect.">
            <a:extLst>
              <a:ext uri="{FF2B5EF4-FFF2-40B4-BE49-F238E27FC236}">
                <a16:creationId xmlns:a16="http://schemas.microsoft.com/office/drawing/2014/main" id="{11343C5F-8B77-01DD-5829-9DE4763D6F6E}"/>
              </a:ext>
            </a:extLst>
          </p:cNvPr>
          <p:cNvSpPr/>
          <p:nvPr/>
        </p:nvSpPr>
        <p:spPr>
          <a:xfrm>
            <a:off x="-646981" y="5472593"/>
            <a:ext cx="7848600" cy="1543558"/>
          </a:xfrm>
          <a:custGeom>
            <a:avLst/>
            <a:gdLst/>
            <a:ahLst/>
            <a:cxnLst/>
            <a:rect l="l" t="t" r="r" b="b"/>
            <a:pathLst>
              <a:path w="11772900" h="2315337">
                <a:moveTo>
                  <a:pt x="0" y="0"/>
                </a:moveTo>
                <a:lnTo>
                  <a:pt x="11772900" y="0"/>
                </a:lnTo>
                <a:lnTo>
                  <a:pt x="11772900" y="2315337"/>
                </a:lnTo>
                <a:lnTo>
                  <a:pt x="0" y="231533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3" name="Freeform 13" descr="A cartoon of a bird on a branch&#10;&#10;AI-generated content may be incorrect.">
            <a:extLst>
              <a:ext uri="{FF2B5EF4-FFF2-40B4-BE49-F238E27FC236}">
                <a16:creationId xmlns:a16="http://schemas.microsoft.com/office/drawing/2014/main" id="{EFD59F67-0665-23EC-9DBF-A0AC17F540E2}"/>
              </a:ext>
            </a:extLst>
          </p:cNvPr>
          <p:cNvSpPr/>
          <p:nvPr/>
        </p:nvSpPr>
        <p:spPr>
          <a:xfrm>
            <a:off x="570080" y="493310"/>
            <a:ext cx="1629063" cy="1442822"/>
          </a:xfrm>
          <a:custGeom>
            <a:avLst/>
            <a:gdLst/>
            <a:ahLst/>
            <a:cxnLst/>
            <a:rect l="l" t="t" r="r" b="b"/>
            <a:pathLst>
              <a:path w="3715992" h="3005309">
                <a:moveTo>
                  <a:pt x="0" y="0"/>
                </a:moveTo>
                <a:lnTo>
                  <a:pt x="3715992" y="0"/>
                </a:lnTo>
                <a:lnTo>
                  <a:pt x="3715992" y="3005308"/>
                </a:lnTo>
                <a:lnTo>
                  <a:pt x="0" y="3005308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5" name="Freeform 14" descr="A close-up of flowers in grass&#10;&#10;AI-generated content may be incorrect.">
            <a:extLst>
              <a:ext uri="{FF2B5EF4-FFF2-40B4-BE49-F238E27FC236}">
                <a16:creationId xmlns:a16="http://schemas.microsoft.com/office/drawing/2014/main" id="{43CD4072-74B2-DAED-21C9-5855DBBE9F69}"/>
              </a:ext>
            </a:extLst>
          </p:cNvPr>
          <p:cNvSpPr/>
          <p:nvPr/>
        </p:nvSpPr>
        <p:spPr>
          <a:xfrm>
            <a:off x="6699849" y="5472593"/>
            <a:ext cx="7848600" cy="1543558"/>
          </a:xfrm>
          <a:custGeom>
            <a:avLst/>
            <a:gdLst/>
            <a:ahLst/>
            <a:cxnLst/>
            <a:rect l="l" t="t" r="r" b="b"/>
            <a:pathLst>
              <a:path w="11772900" h="2315337">
                <a:moveTo>
                  <a:pt x="0" y="0"/>
                </a:moveTo>
                <a:lnTo>
                  <a:pt x="11772900" y="0"/>
                </a:lnTo>
                <a:lnTo>
                  <a:pt x="11772900" y="2315337"/>
                </a:lnTo>
                <a:lnTo>
                  <a:pt x="0" y="231533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1827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16" name="Google Shape;13716;g3d640007778_0_46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>
                <a:solidFill>
                  <a:srgbClr val="AEB3B7"/>
                </a:solidFill>
                <a:latin typeface="DM Sans"/>
                <a:ea typeface="DM Sans"/>
                <a:cs typeface="DM Sans"/>
                <a:sym typeface="DM Sans"/>
              </a:rPr>
              <a:t>9</a:t>
            </a:fld>
            <a:endParaRPr>
              <a:solidFill>
                <a:srgbClr val="AEB3B7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13717" name="Google Shape;13717;g3d640007778_0_46"/>
          <p:cNvSpPr txBox="1">
            <a:spLocks noGrp="1"/>
          </p:cNvSpPr>
          <p:nvPr>
            <p:ph type="title"/>
          </p:nvPr>
        </p:nvSpPr>
        <p:spPr>
          <a:xfrm>
            <a:off x="287150" y="316592"/>
            <a:ext cx="7349400" cy="81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4400" b="1" dirty="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Aims in Development</a:t>
            </a:r>
            <a:endParaRPr sz="4400" b="1" dirty="0">
              <a:solidFill>
                <a:schemeClr val="accent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graphicFrame>
        <p:nvGraphicFramePr>
          <p:cNvPr id="13718" name="Google Shape;13718;g3d640007778_0_46"/>
          <p:cNvGraphicFramePr/>
          <p:nvPr>
            <p:extLst>
              <p:ext uri="{D42A27DB-BD31-4B8C-83A1-F6EECF244321}">
                <p14:modId xmlns:p14="http://schemas.microsoft.com/office/powerpoint/2010/main" val="4144941638"/>
              </p:ext>
            </p:extLst>
          </p:nvPr>
        </p:nvGraphicFramePr>
        <p:xfrm>
          <a:off x="413537" y="1534857"/>
          <a:ext cx="11364925" cy="5042729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26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22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15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Draft Aim</a:t>
                      </a:r>
                      <a:endParaRPr sz="1200" b="1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Draft Aim</a:t>
                      </a:r>
                      <a:endParaRPr sz="1200" b="1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tructure Measures</a:t>
                      </a:r>
                      <a:endParaRPr sz="1200" b="1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3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By December 31, 2028, participating Illinois birth hospitals will </a:t>
                      </a:r>
                      <a:r>
                        <a:rPr lang="en-US" sz="1200" b="0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reduce</a:t>
                      </a:r>
                      <a:r>
                        <a:rPr lang="en-US" sz="1200" b="1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 preventable morbidity </a:t>
                      </a: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among late preterm infants (34 0/7–36 6/7 weeks) by ?%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50800" marR="508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By December 31, 2028, ≥90% of late preterm infants will be discharged with a </a:t>
                      </a:r>
                      <a:r>
                        <a:rPr lang="en-US" sz="1200" b="1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coordinated discharge </a:t>
                      </a: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plan including: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By December 31, 2028, participating Illinois birth hospitals will increase the percentage of late preterm infants receiving </a:t>
                      </a:r>
                      <a:r>
                        <a:rPr lang="en-US" sz="1200" b="1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tandardized care</a:t>
                      </a: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 during birth hospitalization to ≥80%. 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Preventable morbidities related to: </a:t>
                      </a:r>
                      <a:endParaRPr sz="1200" dirty="0">
                        <a:highlight>
                          <a:srgbClr val="FFFFFF"/>
                        </a:highlight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6858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DM Sans"/>
                        <a:buChar char="●"/>
                      </a:pP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ypoglycemia </a:t>
                      </a:r>
                    </a:p>
                    <a:p>
                      <a:pPr marL="6858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DM Sans"/>
                        <a:buChar char="●"/>
                      </a:pP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yperbilirubinemia </a:t>
                      </a:r>
                    </a:p>
                    <a:p>
                      <a:pPr marL="6858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DM Sans"/>
                        <a:buChar char="●"/>
                      </a:pP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Feeding difficulties</a:t>
                      </a:r>
                      <a:endParaRPr sz="1200" dirty="0">
                        <a:highlight>
                          <a:srgbClr val="FFFFFF"/>
                        </a:highlight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6858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DM Sans"/>
                        <a:buChar char="●"/>
                      </a:pP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ypothermia </a:t>
                      </a:r>
                    </a:p>
                    <a:p>
                      <a:pPr marL="6858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DM Sans"/>
                        <a:buChar char="●"/>
                      </a:pP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Preventable NICU transfer</a:t>
                      </a:r>
                    </a:p>
                    <a:p>
                      <a:pPr marL="6858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DM Sans"/>
                        <a:buChar char="●"/>
                      </a:pP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Infections</a:t>
                      </a:r>
                    </a:p>
                    <a:p>
                      <a:pPr marL="6858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DM Sans"/>
                        <a:buChar char="●"/>
                      </a:pP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Weight Loss</a:t>
                      </a:r>
                    </a:p>
                    <a:p>
                      <a:pPr marL="6858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DM Sans"/>
                        <a:buChar char="●"/>
                      </a:pP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Temperature Instability</a:t>
                      </a:r>
                    </a:p>
                    <a:p>
                      <a:pPr marL="6858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DM Sans"/>
                        <a:buChar char="●"/>
                      </a:pPr>
                      <a:r>
                        <a:rPr lang="en-US" sz="1200" dirty="0">
                          <a:highlight>
                            <a:srgbClr val="FFFFFF"/>
                          </a:highlight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Respiratory Instability</a:t>
                      </a:r>
                      <a:endParaRPr sz="1200" dirty="0">
                        <a:highlight>
                          <a:srgbClr val="FFFFFF"/>
                        </a:highlight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096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Clinical readiness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Thermoregulation education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Bilirubin plan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afe sleep assessment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No ABDs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Car seat tolerance and other NBS 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Immunizations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Discharge feeding plan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6096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Family preparedness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afe sleep education and plan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DOH screening and referrals 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Parental mental health assessment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Provider’s appointment within 48 hours 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WIC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EI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017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me visiting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609600" marR="50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Transfer of care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558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Infection risk assessment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558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Thermoregulation 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558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Glucose homeostasis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558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Bilirubin risk stratification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558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Feeding and growth optimization  ​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558800" lvl="0" indent="-3048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0E0E"/>
                        </a:buClr>
                        <a:buSzPts val="1200"/>
                        <a:buFont typeface="DM Sans"/>
                        <a:buChar char="●"/>
                      </a:pPr>
                      <a:r>
                        <a:rPr lang="en-US" sz="1200" dirty="0">
                          <a:solidFill>
                            <a:srgbClr val="0E0E0E"/>
                          </a:solidFill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afe sleep assessment </a:t>
                      </a: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dirty="0">
                        <a:solidFill>
                          <a:srgbClr val="0E0E0E"/>
                        </a:solidFill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E0E0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863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4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Material">
  <a:themeElements>
    <a:clrScheme name="Material">
      <a:dk1>
        <a:srgbClr val="4285F4"/>
      </a:dk1>
      <a:lt1>
        <a:srgbClr val="FFFFFF"/>
      </a:lt1>
      <a:dk2>
        <a:srgbClr val="424242"/>
      </a:dk2>
      <a:lt2>
        <a:srgbClr val="737373"/>
      </a:lt2>
      <a:accent1>
        <a:srgbClr val="0277BD"/>
      </a:accent1>
      <a:accent2>
        <a:srgbClr val="0F9D58"/>
      </a:accent2>
      <a:accent3>
        <a:srgbClr val="DB4437"/>
      </a:accent3>
      <a:accent4>
        <a:srgbClr val="FAFAFA"/>
      </a:accent4>
      <a:accent5>
        <a:srgbClr val="4FC3F7"/>
      </a:accent5>
      <a:accent6>
        <a:srgbClr val="F4B400"/>
      </a:accent6>
      <a:hlink>
        <a:srgbClr val="4FC3F7"/>
      </a:hlink>
      <a:folHlink>
        <a:srgbClr val="4FC3F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4_Office Theme">
  <a:themeElements>
    <a:clrScheme name="NM Colors">
      <a:dk1>
        <a:srgbClr val="54585A"/>
      </a:dk1>
      <a:lt1>
        <a:sysClr val="window" lastClr="FFFFFF"/>
      </a:lt1>
      <a:dk2>
        <a:srgbClr val="61468B"/>
      </a:dk2>
      <a:lt2>
        <a:srgbClr val="CFC7DC"/>
      </a:lt2>
      <a:accent1>
        <a:srgbClr val="917EAE"/>
      </a:accent1>
      <a:accent2>
        <a:srgbClr val="B0A2C5"/>
      </a:accent2>
      <a:accent3>
        <a:srgbClr val="00A144"/>
      </a:accent3>
      <a:accent4>
        <a:srgbClr val="CFD641"/>
      </a:accent4>
      <a:accent5>
        <a:srgbClr val="EDAC1A"/>
      </a:accent5>
      <a:accent6>
        <a:srgbClr val="DF6426"/>
      </a:accent6>
      <a:hlink>
        <a:srgbClr val="B1ACCE"/>
      </a:hlink>
      <a:folHlink>
        <a:srgbClr val="D4D5D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31</TotalTime>
  <Words>2129</Words>
  <Application>Microsoft Office PowerPoint</Application>
  <PresentationFormat>Widescreen</PresentationFormat>
  <Paragraphs>311</Paragraphs>
  <Slides>34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59" baseType="lpstr">
      <vt:lpstr>Aptos</vt:lpstr>
      <vt:lpstr>Aptos Display</vt:lpstr>
      <vt:lpstr>Arial</vt:lpstr>
      <vt:lpstr>Calibri</vt:lpstr>
      <vt:lpstr>DM Sans</vt:lpstr>
      <vt:lpstr>Helvetica</vt:lpstr>
      <vt:lpstr>Helvetica Neue</vt:lpstr>
      <vt:lpstr>Helvetica Neue Medium</vt:lpstr>
      <vt:lpstr>Lato Medium</vt:lpstr>
      <vt:lpstr>Lucida Grande</vt:lpstr>
      <vt:lpstr>Montserrat</vt:lpstr>
      <vt:lpstr>Noto Sans Symbols</vt:lpstr>
      <vt:lpstr>Roboto</vt:lpstr>
      <vt:lpstr>Times New Roman</vt:lpstr>
      <vt:lpstr>Verdana</vt:lpstr>
      <vt:lpstr>Wingdings</vt:lpstr>
      <vt:lpstr>office theme</vt:lpstr>
      <vt:lpstr>Office Theme</vt:lpstr>
      <vt:lpstr>1_Office Theme</vt:lpstr>
      <vt:lpstr>1_Office Theme</vt:lpstr>
      <vt:lpstr>Office Theme</vt:lpstr>
      <vt:lpstr>3_Office Theme</vt:lpstr>
      <vt:lpstr>1_Material</vt:lpstr>
      <vt:lpstr>4_Office Theme</vt:lpstr>
      <vt:lpstr>think-cell Slide</vt:lpstr>
      <vt:lpstr>Too Early to Be Overlooked:  Coordinated Care for Late Preterm Infants  </vt:lpstr>
      <vt:lpstr>PowerPoint Presentation</vt:lpstr>
      <vt:lpstr>IL-LPI</vt:lpstr>
      <vt:lpstr> The Illinois Late Preterm Infant Initiative</vt:lpstr>
      <vt:lpstr>Care for the Late Preterm Infant</vt:lpstr>
      <vt:lpstr>IL-LPI Timeline</vt:lpstr>
      <vt:lpstr>A chance to affect ~10,000 babies a year in Illinois</vt:lpstr>
      <vt:lpstr>IL-LPI Aims and Drivers</vt:lpstr>
      <vt:lpstr>Aims in Development</vt:lpstr>
      <vt:lpstr>Primary Drivers</vt:lpstr>
      <vt:lpstr>IL-LPI Breakout Session</vt:lpstr>
      <vt:lpstr>Panel</vt:lpstr>
      <vt:lpstr>Panel Objectives</vt:lpstr>
      <vt:lpstr>Panelist</vt:lpstr>
      <vt:lpstr>SUPPORTING BREASTFEEDING FOR LATE PRETERM INFANTS</vt:lpstr>
      <vt:lpstr>RISKS/OUTCOMES TO PREVENT:</vt:lpstr>
      <vt:lpstr>Common Feeding Challenges for LPTs: </vt:lpstr>
      <vt:lpstr> SUPPORTIVE INTERVENTIONS: </vt:lpstr>
      <vt:lpstr>PowerPoint Presentation</vt:lpstr>
      <vt:lpstr>PowerPoint Presentation</vt:lpstr>
      <vt:lpstr>Panelist</vt:lpstr>
      <vt:lpstr>Panelist</vt:lpstr>
      <vt:lpstr>Late Premature Infants Babies at Risk  May 21, 2026 Malika Shah, MD Medical Director, Northwestern Newborn Nursery Associate Professor, Northwestern Feinberg School of Medicine </vt:lpstr>
      <vt:lpstr>Introduction</vt:lpstr>
      <vt:lpstr>So Many Babies!</vt:lpstr>
      <vt:lpstr>PowerPoint Presentation</vt:lpstr>
      <vt:lpstr>Newborn Tasks Just Keep Getting Added</vt:lpstr>
      <vt:lpstr>More Criteria for Late Preterm Infants</vt:lpstr>
      <vt:lpstr>Caregiver Education Needs to be Comprehensive</vt:lpstr>
      <vt:lpstr>Length of Stay Has Decreased</vt:lpstr>
      <vt:lpstr>Late Premature Infants Have Problems</vt:lpstr>
      <vt:lpstr>This Population is at Risk!</vt:lpstr>
      <vt:lpstr>PowerPoint Presentation</vt:lpstr>
      <vt:lpstr>ILPQC Timelin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o Early to Be Overlooked: Coordinated Care for Late Preterm Infants  </dc:title>
  <dc:creator/>
  <cp:lastModifiedBy>Rebecca Hannah Ainis</cp:lastModifiedBy>
  <cp:revision>37</cp:revision>
  <dcterms:created xsi:type="dcterms:W3CDTF">2026-04-15T17:24:04Z</dcterms:created>
  <dcterms:modified xsi:type="dcterms:W3CDTF">2026-06-01T18:56:21Z</dcterms:modified>
</cp:coreProperties>
</file>